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12.xml" ContentType="application/vnd.openxmlformats-officedocument.themeOverride+xml"/>
  <Override PartName="/ppt/slides/slide36.xml" ContentType="application/vnd.openxmlformats-officedocument.presentationml.slide+xml"/>
  <Override PartName="/ppt/charts/colors6.xml" ContentType="application/vnd.ms-office.chartcolorstyl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52.xml" ContentType="application/vnd.openxmlformats-officedocument.presentationml.tags+xml"/>
  <Override PartName="/ppt/tags/tag41.xml" ContentType="application/vnd.openxmlformats-officedocument.presentationml.tags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charts/style5.xml" ContentType="application/vnd.ms-office.chartstyl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heme/themeOverride13.xml" ContentType="application/vnd.openxmlformats-officedocument.themeOverr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charts/style1.xml" ContentType="application/vnd.ms-office.chartstyl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Override6.xml" ContentType="application/vnd.openxmlformats-officedocument.themeOverride+xml"/>
  <Override PartName="/ppt/charts/chart18.xml" ContentType="application/vnd.openxmlformats-officedocument.drawingml.chart+xml"/>
  <Override PartName="/ppt/charts/colors7.xml" ContentType="application/vnd.ms-office.chartcolor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ppt/tags/tag57.xml" ContentType="application/vnd.openxmlformats-officedocument.presentationml.tags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charts/chart8.xml" ContentType="application/vnd.openxmlformats-officedocument.drawingml.chart+xml"/>
  <Override PartName="/ppt/notesSlides/notesSlide13.xml" ContentType="application/vnd.openxmlformats-officedocument.presentationml.notesSlide+xml"/>
  <Override PartName="/ppt/charts/chart21.xml" ContentType="application/vnd.openxmlformats-officedocument.drawingml.char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tags/tag53.xml" ContentType="application/vnd.openxmlformats-officedocument.presentationml.tags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tags/tag60.xml" ContentType="application/vnd.openxmlformats-officedocument.presentationml.tags+xml"/>
  <Override PartName="/ppt/charts/style6.xml" ContentType="application/vnd.ms-office.chartstyl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heme/themeOverride7.xml" ContentType="application/vnd.openxmlformats-officedocument.themeOverride+xml"/>
  <Override PartName="/ppt/charts/colors8.xml" ContentType="application/vnd.ms-office.chartcolorstyle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heme/themeOverride10.xml" ContentType="application/vnd.openxmlformats-officedocument.themeOverride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notesSlides/notesSlide18.xml" ContentType="application/vnd.openxmlformats-officedocument.presentationml.notesSlide+xml"/>
  <Override PartName="/ppt/tags/tag58.xml" ContentType="application/vnd.openxmlformats-officedocument.presentationml.tags+xml"/>
  <Override PartName="/ppt/charts/colors4.xml" ContentType="application/vnd.ms-office.chartcolorstyl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54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22.xml" ContentType="application/vnd.openxmlformats-officedocument.drawingml.chart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style7.xml" ContentType="application/vnd.ms-office.chartstyle+xml"/>
  <Override PartName="/ppt/charts/colors10.xml" ContentType="application/vnd.ms-office.chartcolorstyl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3.xml" ContentType="application/vnd.ms-office.chartstyl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8.xml" ContentType="application/vnd.openxmlformats-officedocument.themeOverride+xml"/>
  <Override PartName="/ppt/theme/themeOverride11.xml" ContentType="application/vnd.openxmlformats-officedocument.themeOverride+xml"/>
  <Override PartName="/ppt/charts/colors9.xml" ContentType="application/vnd.ms-office.chartcolor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heme/themeOverride4.xml" ContentType="application/vnd.openxmlformats-officedocument.themeOverride+xml"/>
  <Override PartName="/ppt/charts/chart16.xml" ContentType="application/vnd.openxmlformats-officedocument.drawingml.chart+xml"/>
  <Override PartName="/ppt/tags/tag59.xml" ContentType="application/vnd.openxmlformats-officedocument.presentationml.tags+xml"/>
  <Override PartName="/ppt/charts/colors5.xml" ContentType="application/vnd.ms-office.chartcolorstyle+xml"/>
  <Override PartName="/ppt/charts/style10.xml" ContentType="application/vnd.ms-office.chart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23.xml" ContentType="application/vnd.openxmlformats-officedocument.drawingml.char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charts/chart12.xml" ContentType="application/vnd.openxmlformats-officedocument.drawingml.chart+xml"/>
  <Override PartName="/ppt/tags/tag55.xml" ContentType="application/vnd.openxmlformats-officedocument.presentationml.tags+xml"/>
  <Override PartName="/ppt/notesSlides/notesSlide22.xml" ContentType="application/vnd.openxmlformats-officedocument.presentationml.notesSlide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charts/chart6.xml" ContentType="application/vnd.openxmlformats-officedocument.drawingml.chart+xml"/>
  <Override PartName="/ppt/notesSlides/notesSlide11.xml" ContentType="application/vnd.openxmlformats-officedocument.presentationml.notesSlide+xml"/>
  <Override PartName="/ppt/charts/style8.xml" ContentType="application/vnd.ms-office.chartstyl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theme/themeOverride9.xml" ContentType="application/vnd.openxmlformats-officedocument.themeOverride+xml"/>
  <Override PartName="/ppt/charts/style4.xml" ContentType="application/vnd.ms-office.chartstyle+xml"/>
  <Override PartName="/ppt/slides/slide29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charts/chart17.xml" ContentType="application/vnd.openxmlformats-officedocument.drawingml.chart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notesSlides/notesSlide23.xml" ContentType="application/vnd.openxmlformats-officedocument.presentationml.notesSlide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charts/chart7.xml" ContentType="application/vnd.openxmlformats-officedocument.drawingml.chart+xml"/>
  <Override PartName="/ppt/notesSlides/notesSlide12.xml" ContentType="application/vnd.openxmlformats-officedocument.presentationml.notesSlide+xml"/>
  <Override PartName="/ppt/charts/chart20.xml" ContentType="application/vnd.openxmlformats-officedocument.drawingml.chart+xml"/>
  <Override PartName="/ppt/charts/style9.xml" ContentType="application/vnd.ms-office.chartstyle+xml"/>
  <Override PartName="/ppt/tags/tag12.xml" ContentType="application/vnd.openxmlformats-officedocument.presentationml.tags+xml"/>
  <Override PartName="/ppt/tags/tag2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5" r:id="rId1"/>
  </p:sldMasterIdLst>
  <p:notesMasterIdLst>
    <p:notesMasterId r:id="rId46"/>
  </p:notesMasterIdLst>
  <p:handoutMasterIdLst>
    <p:handoutMasterId r:id="rId47"/>
  </p:handoutMasterIdLst>
  <p:sldIdLst>
    <p:sldId id="261" r:id="rId2"/>
    <p:sldId id="446" r:id="rId3"/>
    <p:sldId id="716" r:id="rId4"/>
    <p:sldId id="717" r:id="rId5"/>
    <p:sldId id="821" r:id="rId6"/>
    <p:sldId id="822" r:id="rId7"/>
    <p:sldId id="827" r:id="rId8"/>
    <p:sldId id="721" r:id="rId9"/>
    <p:sldId id="825" r:id="rId10"/>
    <p:sldId id="836" r:id="rId11"/>
    <p:sldId id="727" r:id="rId12"/>
    <p:sldId id="649" r:id="rId13"/>
    <p:sldId id="648" r:id="rId14"/>
    <p:sldId id="480" r:id="rId15"/>
    <p:sldId id="823" r:id="rId16"/>
    <p:sldId id="837" r:id="rId17"/>
    <p:sldId id="698" r:id="rId18"/>
    <p:sldId id="482" r:id="rId19"/>
    <p:sldId id="612" r:id="rId20"/>
    <p:sldId id="500" r:id="rId21"/>
    <p:sldId id="503" r:id="rId22"/>
    <p:sldId id="838" r:id="rId23"/>
    <p:sldId id="507" r:id="rId24"/>
    <p:sldId id="759" r:id="rId25"/>
    <p:sldId id="613" r:id="rId26"/>
    <p:sldId id="490" r:id="rId27"/>
    <p:sldId id="616" r:id="rId28"/>
    <p:sldId id="824" r:id="rId29"/>
    <p:sldId id="804" r:id="rId30"/>
    <p:sldId id="839" r:id="rId31"/>
    <p:sldId id="833" r:id="rId32"/>
    <p:sldId id="834" r:id="rId33"/>
    <p:sldId id="828" r:id="rId34"/>
    <p:sldId id="829" r:id="rId35"/>
    <p:sldId id="835" r:id="rId36"/>
    <p:sldId id="830" r:id="rId37"/>
    <p:sldId id="831" r:id="rId38"/>
    <p:sldId id="840" r:id="rId39"/>
    <p:sldId id="617" r:id="rId40"/>
    <p:sldId id="530" r:id="rId41"/>
    <p:sldId id="621" r:id="rId42"/>
    <p:sldId id="826" r:id="rId43"/>
    <p:sldId id="634" r:id="rId44"/>
    <p:sldId id="623" r:id="rId45"/>
  </p:sldIdLst>
  <p:sldSz cx="9144000" cy="6858000" type="screen4x3"/>
  <p:notesSz cx="6808788" cy="9940925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ate Butler" initials="KB" lastIdx="51" clrIdx="0"/>
  <p:cmAuthor id="7" name="Ruthven Janse van Rensburg" initials="RJvR [2]" lastIdx="5" clrIdx="7">
    <p:extLst>
      <p:ext uri="{19B8F6BF-5375-455C-9EA6-DF929625EA0E}">
        <p15:presenceInfo xmlns:p15="http://schemas.microsoft.com/office/powerpoint/2012/main" xmlns="" userId="Ruthven Janse van Rensburg" providerId="None"/>
      </p:ext>
    </p:extLst>
  </p:cmAuthor>
  <p:cmAuthor id="1" name="Clayton C Thomopoulos" initials="CT" lastIdx="11" clrIdx="1"/>
  <p:cmAuthor id="2" name="Soofiya Khan" initials="SK" lastIdx="17" clrIdx="2"/>
  <p:cmAuthor id="3" name="Khan, Soofiya (ZA - Cape Town)" initials="KS(-CT" lastIdx="1" clrIdx="3">
    <p:extLst/>
  </p:cmAuthor>
  <p:cmAuthor id="4" name="Ruthven Janse van Rensburg" initials="RJvR" lastIdx="28" clrIdx="4">
    <p:extLst>
      <p:ext uri="{19B8F6BF-5375-455C-9EA6-DF929625EA0E}">
        <p15:presenceInfo xmlns:p15="http://schemas.microsoft.com/office/powerpoint/2012/main" xmlns="" userId="S-1-5-21-3528385313-3887411669-492545649-118323" providerId="AD"/>
      </p:ext>
    </p:extLst>
  </p:cmAuthor>
  <p:cmAuthor id="5" name="Erica Knight" initials="EK" lastIdx="51" clrIdx="5">
    <p:extLst>
      <p:ext uri="{19B8F6BF-5375-455C-9EA6-DF929625EA0E}">
        <p15:presenceInfo xmlns:p15="http://schemas.microsoft.com/office/powerpoint/2012/main" xmlns="" userId="S-1-5-21-3528385313-3887411669-492545649-10881" providerId="AD"/>
      </p:ext>
    </p:extLst>
  </p:cmAuthor>
  <p:cmAuthor id="6" name="Wendy J Hansby" initials="WJH" lastIdx="25" clrIdx="6">
    <p:extLst>
      <p:ext uri="{19B8F6BF-5375-455C-9EA6-DF929625EA0E}">
        <p15:presenceInfo xmlns:p15="http://schemas.microsoft.com/office/powerpoint/2012/main" xmlns="" userId="S-1-5-21-3528385313-3887411669-492545649-264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29B"/>
    <a:srgbClr val="B5121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37" autoAdjust="0"/>
    <p:restoredTop sz="92621" autoAdjust="0"/>
  </p:normalViewPr>
  <p:slideViewPr>
    <p:cSldViewPr>
      <p:cViewPr varScale="1">
        <p:scale>
          <a:sx n="108" d="100"/>
          <a:sy n="108" d="100"/>
        </p:scale>
        <p:origin x="-1704" y="-78"/>
      </p:cViewPr>
      <p:guideLst>
        <p:guide orient="horz" pos="3838"/>
        <p:guide orient="horz" pos="890"/>
        <p:guide pos="5602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>
        <p:scale>
          <a:sx n="120" d="100"/>
          <a:sy n="120" d="100"/>
        </p:scale>
        <p:origin x="590" y="-2251"/>
      </p:cViewPr>
      <p:guideLst>
        <p:guide orient="horz" pos="3131"/>
        <p:guide pos="2145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55315704\Documents\Case%20Manager\SCOPA\5.%202017_2018\2.%20Q1-Q3%2017.18\1.%20Data%20Q1%20-%20Q3%2017.18\1.%20Case%20list\20180830%20Case%20list%20Q1_Q3%20SCOPA_V1.xlsx" TargetMode="Externa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7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8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9.xml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file:///C:\Users\55315704\Documents\Case%20Manager\SCOPA\5.%202017_2018\1.%20Data\1.%20Case%20list\20180111%20Dec%20Case%20list_SCOPA%20Q2%20Q3_v1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Microsoft_Office_Excel_Worksheet1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10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11.xml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oleObject" Target="file:///C:\Users\55315704\Documents\Case%20Manager\SCOPA\5.%202017_2018\1.%20Data\1.%20Case%20list\20180111%20Dec%20Case%20list_SCOPA%20Q2%20Q3_v1.xlsx" TargetMode="External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Style" Target="style7.xml"/><Relationship Id="rId2" Type="http://schemas.microsoft.com/office/2011/relationships/chartColorStyle" Target="colors7.xml"/><Relationship Id="rId1" Type="http://schemas.openxmlformats.org/officeDocument/2006/relationships/oleObject" Target="file:///C:\Users\55315704\Documents\Case%20Manager\SCOPA\5.%202017_2018\2.%20Q1-Q3%2017.18\1.%20Data%20Q1%20-%20Q3%2017.18\1.%20Case%20list\20180830%20Case%20list%20Q1_Q3%20SCOPA_V1.xlsx" TargetMode="Externa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12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oleObject" Target="file:///C:\Users\55315704\Documents\Case%20Manager\SCOPA\5.%202017_2018\2.%20Q1-Q3%2017.18\1.%20Data%20Q1%20-%20Q3%2017.18\1.%20Case%20list\20180830%20Case%20list%20Q1_Q3%20SCOPA_V1.xlsx" TargetMode="Externa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13.xml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Style" Target="style9.xml"/><Relationship Id="rId2" Type="http://schemas.microsoft.com/office/2011/relationships/chartColorStyle" Target="colors9.xml"/><Relationship Id="rId1" Type="http://schemas.openxmlformats.org/officeDocument/2006/relationships/oleObject" Target="file:///C:\Users\55315704\Documents\Case%20Manager\SCOPA\5.%202017_2018\2.%20Q1-Q3%2017.18\1.%20Data%20Q1%20-%20Q3%2017.18\1.%20Case%20list\20180830%20Case%20list%20Q1_Q3%20SCOPA_V1.xlsx" TargetMode="External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Style" Target="style10.xml"/><Relationship Id="rId2" Type="http://schemas.microsoft.com/office/2011/relationships/chartColorStyle" Target="colors10.xml"/><Relationship Id="rId1" Type="http://schemas.openxmlformats.org/officeDocument/2006/relationships/oleObject" Target="file:///C:\Users\55315704\Documents\Case%20Manager\SCOPA\5.%202017_2018\2.%20Q1-Q3%2017.18\1.%20Data%20Q1%20-%20Q3%2017.18\1.%20Case%20list\20180830%20Case%20list%20Q1_Q3%20SCOPA_V1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C:\Users\55315704\Documents\Case%20Manager\SCOPA\5.%202017_2018\2.%20Q1-Q3%2017.18\1.%20Data%20Q1%20-%20Q3%2017.18\1.%20Case%20list\20180830%20Case%20list%20Q1_Q3%20SCOPA_V1.xlsx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5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55315704\Documents\Case%20Manager\SCOPA\5.%202017_2018\2.%20Q1-Q3%2017.18\1.%20Data%20Q1%20-%20Q3%2017.18\2.%20Recomm\20180628%20%20Recommendations_Q1%2018_19%20v2_Updated%20recc.xlsx" TargetMode="External"/><Relationship Id="rId1" Type="http://schemas.openxmlformats.org/officeDocument/2006/relationships/themeOverride" Target="../theme/themeOverride6.xml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file:///C:\Users\55315704\Documents\Case%20Manager\SCOPA\5.%202017_2018\2.%20Q1-Q3%2017.18\1.%20Data%20Q1%20-%20Q3%2017.18\1.%20Case%20list\20180830%20Case%20list%20Q1_Q3%20SCOPA_V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20180830 Case list Q1_Q3 SCOPA_V1.xlsx]SCOPA Q1 Q3 all!PivotTable1</c:name>
    <c:fmtId val="12"/>
  </c:pivotSource>
  <c:chart>
    <c:autoTitleDeleted val="1"/>
    <c:pivotFmts>
      <c:pivotFmt>
        <c:idx val="0"/>
        <c:dLbl>
          <c:idx val="0"/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60500315646299652"/>
          <c:y val="3.8612097291365034E-2"/>
          <c:w val="0.39499684353700371"/>
          <c:h val="0.91437916922853157"/>
        </c:manualLayout>
      </c:layout>
      <c:barChart>
        <c:barDir val="bar"/>
        <c:grouping val="clustered"/>
        <c:ser>
          <c:idx val="0"/>
          <c:order val="0"/>
          <c:tx>
            <c:strRef>
              <c:f>'SCOPA Q1 Q3 all'!$B$7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COPA Q1 Q3 all'!$A$73:$A$87</c:f>
              <c:strCache>
                <c:ptCount val="14"/>
                <c:pt idx="0">
                  <c:v>Corruption</c:v>
                </c:pt>
                <c:pt idx="1">
                  <c:v>Corruption and Irregularity</c:v>
                </c:pt>
                <c:pt idx="2">
                  <c:v>Corruption/Irregularity and/or Non Compliance</c:v>
                </c:pt>
                <c:pt idx="3">
                  <c:v>Fraud</c:v>
                </c:pt>
                <c:pt idx="4">
                  <c:v>Fraud and Irregularity and /or Non Compliance</c:v>
                </c:pt>
                <c:pt idx="5">
                  <c:v>Fraud and Theft</c:v>
                </c:pt>
                <c:pt idx="6">
                  <c:v>Fraud and/or Corruption, Theft, Irregularity and/or Non Compliance</c:v>
                </c:pt>
                <c:pt idx="7">
                  <c:v>Fraud and/or Corruption/Irregularity and/or Non Compliance </c:v>
                </c:pt>
                <c:pt idx="8">
                  <c:v>Irregularity and/or Non-Compliance</c:v>
                </c:pt>
                <c:pt idx="9">
                  <c:v>No Investigation </c:v>
                </c:pt>
                <c:pt idx="10">
                  <c:v>Non-compliance</c:v>
                </c:pt>
                <c:pt idx="11">
                  <c:v>Only Preliminary Investigation required</c:v>
                </c:pt>
                <c:pt idx="12">
                  <c:v>Only Preliminary Investigation with recommendations</c:v>
                </c:pt>
                <c:pt idx="13">
                  <c:v>Referred</c:v>
                </c:pt>
              </c:strCache>
            </c:strRef>
          </c:cat>
          <c:val>
            <c:numRef>
              <c:f>'SCOPA Q1 Q3 all'!$B$73:$B$87</c:f>
              <c:numCache>
                <c:formatCode>General</c:formatCode>
                <c:ptCount val="1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3</c:v>
                </c:pt>
                <c:pt idx="7">
                  <c:v>2</c:v>
                </c:pt>
                <c:pt idx="8">
                  <c:v>4</c:v>
                </c:pt>
                <c:pt idx="9">
                  <c:v>1</c:v>
                </c:pt>
                <c:pt idx="10">
                  <c:v>1</c:v>
                </c:pt>
                <c:pt idx="11">
                  <c:v>8</c:v>
                </c:pt>
                <c:pt idx="12">
                  <c:v>2</c:v>
                </c:pt>
                <c:pt idx="13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7DB-40C3-B4FC-01C2DE5EBA53}"/>
            </c:ext>
          </c:extLst>
        </c:ser>
        <c:dLbls/>
        <c:gapWidth val="182"/>
        <c:axId val="81007360"/>
        <c:axId val="81008896"/>
      </c:barChart>
      <c:catAx>
        <c:axId val="81007360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81008896"/>
        <c:crosses val="autoZero"/>
        <c:auto val="1"/>
        <c:lblAlgn val="ctr"/>
        <c:lblOffset val="100"/>
      </c:catAx>
      <c:valAx>
        <c:axId val="8100889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81007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bg1">
          <a:lumMod val="5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WCED!PivotTable13</c:name>
    <c:fmtId val="4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</c:pivotFmt>
      <c:pivotFmt>
        <c:idx val="4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3.0455423770367283E-2"/>
          <c:y val="0.20493418995598167"/>
          <c:w val="0.51168059469084171"/>
          <c:h val="0.73256597997286566"/>
        </c:manualLayout>
      </c:layout>
      <c:pie3DChart>
        <c:varyColors val="1"/>
        <c:ser>
          <c:idx val="0"/>
          <c:order val="0"/>
          <c:tx>
            <c:strRef>
              <c:f>WCED!$M$90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8375-42F8-827E-58275A1C8F24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1-8375-42F8-827E-58275A1C8F24}"/>
              </c:ext>
            </c:extLst>
          </c:dPt>
          <c:dPt>
            <c:idx val="2"/>
            <c:extLst xmlns:c16r2="http://schemas.microsoft.com/office/drawing/2015/06/chart">
              <c:ext xmlns:c16="http://schemas.microsoft.com/office/drawing/2014/chart" uri="{C3380CC4-5D6E-409C-BE32-E72D297353CC}">
                <c16:uniqueId val="{00000002-8375-42F8-827E-58275A1C8F24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WCED!$L$91:$L$94</c:f>
              <c:strCache>
                <c:ptCount val="3"/>
                <c:pt idx="0">
                  <c:v>Recommendation implemented</c:v>
                </c:pt>
                <c:pt idx="1">
                  <c:v>Recommendation not implementable</c:v>
                </c:pt>
                <c:pt idx="2">
                  <c:v>Recommendation not yet implemented</c:v>
                </c:pt>
              </c:strCache>
            </c:strRef>
          </c:cat>
          <c:val>
            <c:numRef>
              <c:f>WCED!$M$91:$M$94</c:f>
              <c:numCache>
                <c:formatCode>General</c:formatCode>
                <c:ptCount val="3"/>
                <c:pt idx="0">
                  <c:v>4</c:v>
                </c:pt>
                <c:pt idx="1">
                  <c:v>4</c:v>
                </c:pt>
                <c:pt idx="2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375-42F8-827E-58275A1C8F24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910074109165866"/>
          <c:y val="1.4742466545096819E-2"/>
          <c:w val="0.3939388252177019"/>
          <c:h val="0.61199997020218999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8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WCED!PivotTable16</c:name>
    <c:fmtId val="4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0.11024779808236349"/>
          <c:y val="0.1837180128133912"/>
          <c:w val="0.48464584799847682"/>
          <c:h val="0.69870245898603855"/>
        </c:manualLayout>
      </c:layout>
      <c:pie3DChart>
        <c:varyColors val="1"/>
        <c:ser>
          <c:idx val="0"/>
          <c:order val="0"/>
          <c:tx>
            <c:strRef>
              <c:f>WCED!$M$237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1E2D-4D7D-856A-48054D36834A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1-1E2D-4D7D-856A-48054D36834A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dLblPos val="inEnd"/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WCED!$L$238:$L$240</c:f>
              <c:strCache>
                <c:ptCount val="2"/>
                <c:pt idx="0">
                  <c:v>Recommendation implemented</c:v>
                </c:pt>
                <c:pt idx="1">
                  <c:v>Recommendation not yet implemented</c:v>
                </c:pt>
              </c:strCache>
            </c:strRef>
          </c:cat>
          <c:val>
            <c:numRef>
              <c:f>WCED!$M$238:$M$240</c:f>
              <c:numCache>
                <c:formatCode>General</c:formatCode>
                <c:ptCount val="2"/>
                <c:pt idx="0">
                  <c:v>14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E2D-4D7D-856A-48054D36834A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9817677342215902"/>
          <c:y val="2.2275437906735671E-2"/>
          <c:w val="0.38712352016685914"/>
          <c:h val="0.36185901753826449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WCED!PivotTable14</c:name>
    <c:fmtId val="4"/>
  </c:pivotSource>
  <c:chart>
    <c:autoTitleDeleted val="1"/>
    <c:pivotFmts>
      <c:pivotFmt>
        <c:idx val="0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2.4276809148856392E-2"/>
          <c:y val="0.11868028192463512"/>
          <c:w val="0.57499484439445081"/>
          <c:h val="0.83414206099680621"/>
        </c:manualLayout>
      </c:layout>
      <c:pie3DChart>
        <c:varyColors val="1"/>
        <c:ser>
          <c:idx val="0"/>
          <c:order val="0"/>
          <c:tx>
            <c:strRef>
              <c:f>WCED!$M$329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116A-4284-BE82-44C6E00649FA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WCED!$L$330:$L$332</c:f>
              <c:strCache>
                <c:ptCount val="2"/>
                <c:pt idx="0">
                  <c:v>Recommendation implemented</c:v>
                </c:pt>
                <c:pt idx="1">
                  <c:v>Recommendation not yet implemented</c:v>
                </c:pt>
              </c:strCache>
            </c:strRef>
          </c:cat>
          <c:val>
            <c:numRef>
              <c:f>WCED!$M$330:$M$332</c:f>
              <c:numCache>
                <c:formatCode>General</c:formatCode>
                <c:ptCount val="2"/>
                <c:pt idx="0">
                  <c:v>2</c:v>
                </c:pt>
                <c:pt idx="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16A-4284-BE82-44C6E00649FA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6720941132358482"/>
          <c:y val="9.8241711044139406E-3"/>
          <c:w val="0.43279058867641546"/>
          <c:h val="0.37652938650374851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8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20180111 Dec Case list_SCOPA Q2 Q3_v1.xlsx]TPW!PivotTable8</c:name>
    <c:fmtId val="44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49716431815836992"/>
          <c:y val="5.0925925925925923E-2"/>
          <c:w val="0.50283568184162997"/>
          <c:h val="0.89814814814814814"/>
        </c:manualLayout>
      </c:layout>
      <c:barChart>
        <c:barDir val="bar"/>
        <c:grouping val="clustered"/>
        <c:ser>
          <c:idx val="0"/>
          <c:order val="0"/>
          <c:tx>
            <c:strRef>
              <c:f>TPW!$B$7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40" b="0" i="0" u="none" strike="noStrike" kern="1200" baseline="0">
                    <a:solidFill>
                      <a:schemeClr val="dk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PW!$A$75:$A$76</c:f>
              <c:strCache>
                <c:ptCount val="1"/>
                <c:pt idx="0">
                  <c:v>Referred to Department for a preliminary investigation</c:v>
                </c:pt>
              </c:strCache>
            </c:strRef>
          </c:cat>
          <c:val>
            <c:numRef>
              <c:f>TPW!$B$75:$B$76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962-4CAF-8259-3A852E2ED625}"/>
            </c:ext>
          </c:extLst>
        </c:ser>
        <c:dLbls>
          <c:showVal val="1"/>
        </c:dLbls>
        <c:gapWidth val="182"/>
        <c:axId val="94566656"/>
        <c:axId val="94392320"/>
      </c:barChart>
      <c:catAx>
        <c:axId val="94566656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40" b="0" i="0" u="none" strike="noStrike" kern="1200" baseline="0">
                <a:solidFill>
                  <a:schemeClr val="dk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4392320"/>
        <c:crosses val="autoZero"/>
        <c:auto val="1"/>
        <c:lblAlgn val="ctr"/>
        <c:lblOffset val="100"/>
      </c:catAx>
      <c:valAx>
        <c:axId val="94392320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tickLblPos val="none"/>
        <c:crossAx val="94566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chemeClr val="lt1"/>
    </a:solidFill>
    <a:ln w="9525" cap="flat" cmpd="sng" algn="ctr">
      <a:solidFill>
        <a:schemeClr val="dk1"/>
      </a:solidFill>
      <a:prstDash val="solid"/>
      <a:round/>
    </a:ln>
    <a:effectLst/>
  </c:spPr>
  <c:txPr>
    <a:bodyPr/>
    <a:lstStyle/>
    <a:p>
      <a:pPr>
        <a:defRPr sz="940" baseline="0">
          <a:solidFill>
            <a:schemeClr val="dk1"/>
          </a:solidFill>
          <a:latin typeface="Century Gothic" panose="020B0502020202020204" pitchFamily="34" charset="0"/>
          <a:ea typeface="+mn-ea"/>
          <a:cs typeface="+mn-cs"/>
        </a:defRPr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20180111 Dec Case list_SCOPA Q2 Q3_v1.xlsx]DCAS!PivotTable8</c:name>
    <c:fmtId val="35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49716431815836992"/>
          <c:y val="5.0925925925925923E-2"/>
          <c:w val="0.50283568184162997"/>
          <c:h val="0.89814814814814814"/>
        </c:manualLayout>
      </c:layout>
      <c:barChart>
        <c:barDir val="bar"/>
        <c:grouping val="clustered"/>
        <c:ser>
          <c:idx val="0"/>
          <c:order val="0"/>
          <c:tx>
            <c:strRef>
              <c:f>DCAS!$B$7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40" b="0" i="0" u="none" strike="noStrike" kern="1200" baseline="0">
                    <a:solidFill>
                      <a:schemeClr val="dk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CAS!$A$75:$A$76</c:f>
              <c:strCache>
                <c:ptCount val="1"/>
                <c:pt idx="0">
                  <c:v>Irregularity and/or Non-Compliance</c:v>
                </c:pt>
              </c:strCache>
            </c:strRef>
          </c:cat>
          <c:val>
            <c:numRef>
              <c:f>DCAS!$B$75:$B$76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1CD-46D2-AB49-67652034C4DB}"/>
            </c:ext>
          </c:extLst>
        </c:ser>
        <c:dLbls>
          <c:showVal val="1"/>
        </c:dLbls>
        <c:gapWidth val="182"/>
        <c:axId val="102718464"/>
        <c:axId val="102728448"/>
      </c:barChart>
      <c:catAx>
        <c:axId val="102718464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40" b="0" i="0" u="none" strike="noStrike" kern="1200" baseline="0">
                <a:solidFill>
                  <a:schemeClr val="dk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2728448"/>
        <c:crosses val="autoZero"/>
        <c:auto val="1"/>
        <c:lblAlgn val="ctr"/>
        <c:lblOffset val="100"/>
      </c:catAx>
      <c:valAx>
        <c:axId val="102728448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tickLblPos val="none"/>
        <c:crossAx val="10271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chemeClr val="lt1"/>
    </a:solidFill>
    <a:ln w="9525" cap="flat" cmpd="sng" algn="ctr">
      <a:solidFill>
        <a:schemeClr val="dk1"/>
      </a:solidFill>
      <a:prstDash val="solid"/>
      <a:round/>
    </a:ln>
    <a:effectLst/>
  </c:spPr>
  <c:txPr>
    <a:bodyPr/>
    <a:lstStyle/>
    <a:p>
      <a:pPr>
        <a:defRPr sz="940" baseline="0">
          <a:solidFill>
            <a:schemeClr val="dk1"/>
          </a:solidFill>
          <a:latin typeface="Century Gothic" panose="020B0502020202020204" pitchFamily="34" charset="0"/>
          <a:ea typeface="+mn-ea"/>
          <a:cs typeface="+mn-cs"/>
        </a:defRPr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DCAS!PivotTable13</c:name>
    <c:fmtId val="5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</c:pivotFmt>
      <c:pivotFmt>
        <c:idx val="4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5.805399085750549E-2"/>
          <c:y val="0.13587510637545847"/>
          <c:w val="0.52673435855655359"/>
          <c:h val="0.74983075086799655"/>
        </c:manualLayout>
      </c:layout>
      <c:pie3DChart>
        <c:varyColors val="1"/>
        <c:ser>
          <c:idx val="0"/>
          <c:order val="0"/>
          <c:tx>
            <c:strRef>
              <c:f>DCAS!$M$90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E61B-4E14-990D-FA3F0735E232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1-E61B-4E14-990D-FA3F0735E232}"/>
              </c:ext>
            </c:extLst>
          </c:dPt>
          <c:dPt>
            <c:idx val="2"/>
            <c:extLst xmlns:c16r2="http://schemas.microsoft.com/office/drawing/2015/06/chart">
              <c:ext xmlns:c16="http://schemas.microsoft.com/office/drawing/2014/chart" uri="{C3380CC4-5D6E-409C-BE32-E72D297353CC}">
                <c16:uniqueId val="{00000002-E61B-4E14-990D-FA3F0735E232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CAS!$L$91:$L$92</c:f>
              <c:strCache>
                <c:ptCount val="1"/>
                <c:pt idx="0">
                  <c:v>Recommendation not yet implemented</c:v>
                </c:pt>
              </c:strCache>
            </c:strRef>
          </c:cat>
          <c:val>
            <c:numRef>
              <c:f>DCAS!$M$91:$M$9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61B-4E14-990D-FA3F0735E232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910074109165866"/>
          <c:y val="1.4742466545096819E-2"/>
          <c:w val="0.3939388252177019"/>
          <c:h val="0.61199997020218999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8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DCAS!PivotTable16</c:name>
    <c:fmtId val="5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8.329833632889691E-2"/>
          <c:y val="0.266242621364295"/>
          <c:w val="0.52231432795044996"/>
          <c:h val="0.65955861530467219"/>
        </c:manualLayout>
      </c:layout>
      <c:pie3DChart>
        <c:varyColors val="1"/>
        <c:ser>
          <c:idx val="0"/>
          <c:order val="0"/>
          <c:tx>
            <c:strRef>
              <c:f>DCAS!$M$237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B11F-42FC-A507-CDBE53379163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1-B11F-42FC-A507-CDBE53379163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dLblPos val="inEnd"/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CAS!$L$238:$L$239</c:f>
              <c:strCache>
                <c:ptCount val="1"/>
                <c:pt idx="0">
                  <c:v>Recommendation implemented</c:v>
                </c:pt>
              </c:strCache>
            </c:strRef>
          </c:cat>
          <c:val>
            <c:numRef>
              <c:f>DCAS!$M$238:$M$239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11F-42FC-A507-CDBE53379163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1042652876464387"/>
          <c:y val="0.11829736692336665"/>
          <c:w val="0.3748737648243744"/>
          <c:h val="0.26583708852163335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20180111 Dec Case list_SCOPA Q2 Q3_v1.xlsx]DEDAT!PivotTable8</c:name>
    <c:fmtId val="33"/>
  </c:pivotSource>
  <c:chart>
    <c:autoTitleDeleted val="1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40" b="0" i="0" u="none" strike="noStrike" kern="1200" baseline="0">
                  <a:solidFill>
                    <a:schemeClr val="dk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49716431815836992"/>
          <c:y val="5.0925925925925923E-2"/>
          <c:w val="0.50283568184162997"/>
          <c:h val="0.89814814814814814"/>
        </c:manualLayout>
      </c:layout>
      <c:barChart>
        <c:barDir val="bar"/>
        <c:grouping val="clustered"/>
        <c:ser>
          <c:idx val="0"/>
          <c:order val="0"/>
          <c:tx>
            <c:strRef>
              <c:f>DEDAT!$B$7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40" b="0" i="0" u="none" strike="noStrike" kern="1200" baseline="0">
                    <a:solidFill>
                      <a:schemeClr val="dk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DAT!$A$75:$A$76</c:f>
              <c:strCache>
                <c:ptCount val="1"/>
                <c:pt idx="0">
                  <c:v>Irregularity and/or Non-Compliance</c:v>
                </c:pt>
              </c:strCache>
            </c:strRef>
          </c:cat>
          <c:val>
            <c:numRef>
              <c:f>DEDAT!$B$75:$B$76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0C9-4250-A080-B15DCD87FEB3}"/>
            </c:ext>
          </c:extLst>
        </c:ser>
        <c:dLbls>
          <c:showVal val="1"/>
        </c:dLbls>
        <c:gapWidth val="182"/>
        <c:axId val="94848128"/>
        <c:axId val="94849664"/>
      </c:barChart>
      <c:catAx>
        <c:axId val="94848128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40" b="0" i="0" u="none" strike="noStrike" kern="1200" baseline="0">
                <a:solidFill>
                  <a:schemeClr val="dk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4849664"/>
        <c:crosses val="autoZero"/>
        <c:auto val="1"/>
        <c:lblAlgn val="ctr"/>
        <c:lblOffset val="100"/>
      </c:catAx>
      <c:valAx>
        <c:axId val="94849664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tickLblPos val="none"/>
        <c:crossAx val="9484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chemeClr val="lt1"/>
    </a:solidFill>
    <a:ln w="9525" cap="flat" cmpd="sng" algn="ctr">
      <a:solidFill>
        <a:schemeClr val="dk1"/>
      </a:solidFill>
      <a:prstDash val="solid"/>
      <a:round/>
    </a:ln>
    <a:effectLst/>
  </c:spPr>
  <c:txPr>
    <a:bodyPr/>
    <a:lstStyle/>
    <a:p>
      <a:pPr>
        <a:defRPr sz="940" baseline="0">
          <a:solidFill>
            <a:schemeClr val="dk1"/>
          </a:solidFill>
          <a:latin typeface="Century Gothic" panose="020B0502020202020204" pitchFamily="34" charset="0"/>
          <a:ea typeface="+mn-ea"/>
          <a:cs typeface="+mn-cs"/>
        </a:defRPr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20180830 Case list Q1_Q3 SCOPA_V1.xlsx]DOCS!PivotTable1</c:name>
    <c:fmtId val="11"/>
  </c:pivotSource>
  <c:chart>
    <c:autoTitleDeleted val="1"/>
    <c:pivotFmts>
      <c:pivotFmt>
        <c:idx val="0"/>
        <c:dLbl>
          <c:idx val="0"/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60500315646299652"/>
          <c:y val="3.8612097291365034E-2"/>
          <c:w val="0.39499684353700371"/>
          <c:h val="0.91437916922853157"/>
        </c:manualLayout>
      </c:layout>
      <c:barChart>
        <c:barDir val="bar"/>
        <c:grouping val="clustered"/>
        <c:ser>
          <c:idx val="0"/>
          <c:order val="0"/>
          <c:tx>
            <c:strRef>
              <c:f>DOCS!$B$7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OCS!$A$73:$A$75</c:f>
              <c:strCache>
                <c:ptCount val="2"/>
                <c:pt idx="0">
                  <c:v>Non-compliance</c:v>
                </c:pt>
                <c:pt idx="1">
                  <c:v>Only Preliminary Investigation required</c:v>
                </c:pt>
              </c:strCache>
            </c:strRef>
          </c:cat>
          <c:val>
            <c:numRef>
              <c:f>DOCS!$B$73:$B$75</c:f>
              <c:numCache>
                <c:formatCode>General</c:formatCode>
                <c:ptCount val="2"/>
                <c:pt idx="0">
                  <c:v>1</c:v>
                </c:pt>
                <c:pt idx="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FE4-47E2-A6D5-51B98B2470BD}"/>
            </c:ext>
          </c:extLst>
        </c:ser>
        <c:dLbls/>
        <c:gapWidth val="182"/>
        <c:axId val="94743168"/>
        <c:axId val="94896512"/>
      </c:barChart>
      <c:catAx>
        <c:axId val="94743168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4896512"/>
        <c:crosses val="autoZero"/>
        <c:auto val="1"/>
        <c:lblAlgn val="ctr"/>
        <c:lblOffset val="100"/>
      </c:catAx>
      <c:valAx>
        <c:axId val="94896512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94743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DOCS!PivotTable13</c:name>
    <c:fmtId val="5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</c:pivotFmt>
      <c:pivotFmt>
        <c:idx val="4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3.0455423770367283E-2"/>
          <c:y val="0.18335322633706816"/>
          <c:w val="0.52924331920083878"/>
          <c:h val="0.75414694359177936"/>
        </c:manualLayout>
      </c:layout>
      <c:pie3DChart>
        <c:varyColors val="1"/>
        <c:ser>
          <c:idx val="0"/>
          <c:order val="0"/>
          <c:tx>
            <c:strRef>
              <c:f>DOCS!$M$90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C1D1-41FE-B4B1-7F41B219A3AA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1-C1D1-41FE-B4B1-7F41B219A3AA}"/>
              </c:ext>
            </c:extLst>
          </c:dPt>
          <c:dPt>
            <c:idx val="2"/>
            <c:extLst xmlns:c16r2="http://schemas.microsoft.com/office/drawing/2015/06/chart">
              <c:ext xmlns:c16="http://schemas.microsoft.com/office/drawing/2014/chart" uri="{C3380CC4-5D6E-409C-BE32-E72D297353CC}">
                <c16:uniqueId val="{00000002-C1D1-41FE-B4B1-7F41B219A3AA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OCS!$L$91:$L$92</c:f>
              <c:strCache>
                <c:ptCount val="1"/>
                <c:pt idx="0">
                  <c:v>Recommendation not implementable</c:v>
                </c:pt>
              </c:strCache>
            </c:strRef>
          </c:cat>
          <c:val>
            <c:numRef>
              <c:f>DOCS!$M$91:$M$9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1D1-41FE-B4B1-7F41B219A3AA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5588196189659245"/>
          <c:y val="1.4742466545096819E-2"/>
          <c:w val="0.429064274237696"/>
          <c:h val="0.53430863428865061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8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HOD Q1 18.19 ALL!PivotTable13</c:name>
    <c:fmtId val="6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</c:pivotFmt>
      <c:pivotFmt>
        <c:idx val="4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6.9227825221127318E-2"/>
          <c:y val="0.11743546603899724"/>
          <c:w val="0.52803040481042351"/>
          <c:h val="0.75064515442038426"/>
        </c:manualLayout>
      </c:layout>
      <c:pie3DChart>
        <c:varyColors val="1"/>
        <c:ser>
          <c:idx val="0"/>
          <c:order val="0"/>
          <c:tx>
            <c:strRef>
              <c:f>'HOD Q1 18.19 ALL'!$M$90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83DE-4438-A324-C07A453DD8EB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1-83DE-4438-A324-C07A453DD8EB}"/>
              </c:ext>
            </c:extLst>
          </c:dPt>
          <c:dPt>
            <c:idx val="2"/>
            <c:extLst xmlns:c16r2="http://schemas.microsoft.com/office/drawing/2015/06/chart">
              <c:ext xmlns:c16="http://schemas.microsoft.com/office/drawing/2014/chart" uri="{C3380CC4-5D6E-409C-BE32-E72D297353CC}">
                <c16:uniqueId val="{00000002-83DE-4438-A324-C07A453DD8EB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HOD Q1 18.19 ALL'!$L$91:$L$94</c:f>
              <c:strCache>
                <c:ptCount val="3"/>
                <c:pt idx="0">
                  <c:v>Recommendation implemented</c:v>
                </c:pt>
                <c:pt idx="1">
                  <c:v>Recommendation not implementable</c:v>
                </c:pt>
                <c:pt idx="2">
                  <c:v>Recommendation not yet implemented</c:v>
                </c:pt>
              </c:strCache>
            </c:strRef>
          </c:cat>
          <c:val>
            <c:numRef>
              <c:f>'HOD Q1 18.19 ALL'!$M$91:$M$94</c:f>
              <c:numCache>
                <c:formatCode>General</c:formatCode>
                <c:ptCount val="3"/>
                <c:pt idx="0">
                  <c:v>7</c:v>
                </c:pt>
                <c:pt idx="1">
                  <c:v>6</c:v>
                </c:pt>
                <c:pt idx="2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3DE-4438-A324-C07A453DD8EB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9192676219482774"/>
          <c:y val="1.4742466545096819E-2"/>
          <c:w val="0.2930194119693994"/>
          <c:h val="0.50322415169254053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8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20180830 Case list Q1_Q3 SCOPA_V1.xlsx]DSD!PivotTable1</c:name>
    <c:fmtId val="13"/>
  </c:pivotSource>
  <c:chart>
    <c:autoTitleDeleted val="1"/>
    <c:pivotFmts>
      <c:pivotFmt>
        <c:idx val="0"/>
        <c:dLbl>
          <c:idx val="0"/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60500315646299652"/>
          <c:y val="3.8612097291365034E-2"/>
          <c:w val="0.39499684353700371"/>
          <c:h val="0.91437916922853157"/>
        </c:manualLayout>
      </c:layout>
      <c:barChart>
        <c:barDir val="bar"/>
        <c:grouping val="clustered"/>
        <c:ser>
          <c:idx val="0"/>
          <c:order val="0"/>
          <c:tx>
            <c:strRef>
              <c:f>DSD!$B$7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SD!$A$73:$A$74</c:f>
              <c:strCache>
                <c:ptCount val="1"/>
                <c:pt idx="0">
                  <c:v>Only Preliminary Investigation with recommendations</c:v>
                </c:pt>
              </c:strCache>
            </c:strRef>
          </c:cat>
          <c:val>
            <c:numRef>
              <c:f>DSD!$B$73:$B$74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A96-4FBB-9F55-842EA915862C}"/>
            </c:ext>
          </c:extLst>
        </c:ser>
        <c:dLbls/>
        <c:gapWidth val="182"/>
        <c:axId val="95115136"/>
        <c:axId val="95116672"/>
      </c:barChart>
      <c:catAx>
        <c:axId val="95115136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5116672"/>
        <c:crosses val="autoZero"/>
        <c:auto val="1"/>
        <c:lblAlgn val="ctr"/>
        <c:lblOffset val="100"/>
      </c:catAx>
      <c:valAx>
        <c:axId val="95116672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95115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DSD!PivotTable16</c:name>
    <c:fmtId val="9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4.1649168164448407E-2"/>
          <c:y val="0.17022069234766396"/>
          <c:w val="0.51649521188893732"/>
          <c:h val="0.72502811236146592"/>
        </c:manualLayout>
      </c:layout>
      <c:pie3DChart>
        <c:varyColors val="1"/>
        <c:ser>
          <c:idx val="0"/>
          <c:order val="0"/>
          <c:tx>
            <c:strRef>
              <c:f>DSD!$M$237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B4A2-48D3-B643-4B9F240E5DFF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1-B4A2-48D3-B643-4B9F240E5DFF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dLblPos val="inEnd"/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SD!$L$238:$L$239</c:f>
              <c:strCache>
                <c:ptCount val="1"/>
                <c:pt idx="0">
                  <c:v>Recommendation not yet implemented</c:v>
                </c:pt>
              </c:strCache>
            </c:strRef>
          </c:cat>
          <c:val>
            <c:numRef>
              <c:f>DSD!$M$238:$M$239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4A2-48D3-B643-4B9F240E5DFF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5407765418921373"/>
          <c:y val="4.4098603592333661E-2"/>
          <c:w val="0.40182322657784092"/>
          <c:h val="0.36185901753826449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20180830 Case list Q1_Q3 SCOPA_V1.xlsx]HS!PivotTable1</c:name>
    <c:fmtId val="15"/>
  </c:pivotSource>
  <c:chart>
    <c:autoTitleDeleted val="1"/>
    <c:pivotFmts>
      <c:pivotFmt>
        <c:idx val="0"/>
        <c:dLbl>
          <c:idx val="0"/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60500315646299652"/>
          <c:y val="3.8612097291365034E-2"/>
          <c:w val="0.39499684353700371"/>
          <c:h val="0.91437916922853157"/>
        </c:manualLayout>
      </c:layout>
      <c:barChart>
        <c:barDir val="bar"/>
        <c:grouping val="clustered"/>
        <c:ser>
          <c:idx val="0"/>
          <c:order val="0"/>
          <c:tx>
            <c:strRef>
              <c:f>HS!$B$7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S!$A$73:$A$74</c:f>
              <c:strCache>
                <c:ptCount val="1"/>
                <c:pt idx="0">
                  <c:v>Only Preliminary Investigation required</c:v>
                </c:pt>
              </c:strCache>
            </c:strRef>
          </c:cat>
          <c:val>
            <c:numRef>
              <c:f>HS!$B$73:$B$74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165-420E-98A8-6584CDDACA7C}"/>
            </c:ext>
          </c:extLst>
        </c:ser>
        <c:dLbls/>
        <c:gapWidth val="182"/>
        <c:axId val="95390720"/>
        <c:axId val="95400704"/>
      </c:barChart>
      <c:catAx>
        <c:axId val="95390720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5400704"/>
        <c:crosses val="autoZero"/>
        <c:auto val="1"/>
        <c:lblAlgn val="ctr"/>
        <c:lblOffset val="100"/>
      </c:catAx>
      <c:valAx>
        <c:axId val="95400704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95390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20180830 Case list Q1_Q3 SCOPA_V1.xlsx]LG!PivotTable1</c:name>
    <c:fmtId val="19"/>
  </c:pivotSource>
  <c:chart>
    <c:autoTitleDeleted val="1"/>
    <c:pivotFmts>
      <c:pivotFmt>
        <c:idx val="0"/>
        <c:dLbl>
          <c:idx val="0"/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60500315646299652"/>
          <c:y val="3.8612097291365034E-2"/>
          <c:w val="0.39499684353700371"/>
          <c:h val="0.91437916922853157"/>
        </c:manualLayout>
      </c:layout>
      <c:barChart>
        <c:barDir val="bar"/>
        <c:grouping val="clustered"/>
        <c:ser>
          <c:idx val="0"/>
          <c:order val="0"/>
          <c:tx>
            <c:strRef>
              <c:f>LG!$B$7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G!$A$73:$A$74</c:f>
              <c:strCache>
                <c:ptCount val="1"/>
                <c:pt idx="0">
                  <c:v>Fraud and/or Corruption, Theft, Irregularity and/or Non Compliance</c:v>
                </c:pt>
              </c:strCache>
            </c:strRef>
          </c:cat>
          <c:val>
            <c:numRef>
              <c:f>LG!$B$73:$B$74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EF4-4D71-842C-620ED49A0749}"/>
            </c:ext>
          </c:extLst>
        </c:ser>
        <c:dLbls/>
        <c:gapWidth val="182"/>
        <c:axId val="95518720"/>
        <c:axId val="95520256"/>
      </c:barChart>
      <c:catAx>
        <c:axId val="95518720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5520256"/>
        <c:crosses val="autoZero"/>
        <c:auto val="1"/>
        <c:lblAlgn val="ctr"/>
        <c:lblOffset val="100"/>
      </c:catAx>
      <c:valAx>
        <c:axId val="9552025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955187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HOD Q1 18.19 ALL!PivotTable16</c:name>
    <c:fmtId val="3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2.6949461753466637E-2"/>
          <c:y val="0.14363500873999549"/>
          <c:w val="0.5703941353958708"/>
          <c:h val="0.81247651636722806"/>
        </c:manualLayout>
      </c:layout>
      <c:pie3DChart>
        <c:varyColors val="1"/>
        <c:ser>
          <c:idx val="0"/>
          <c:order val="0"/>
          <c:tx>
            <c:strRef>
              <c:f>'HOD Q1 18.19 ALL'!$M$237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C271-472E-8AEA-F9BB4CEA53AC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1-C271-472E-8AEA-F9BB4CEA53AC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dLblPos val="inEnd"/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HOD Q1 18.19 ALL'!$L$238:$L$240</c:f>
              <c:strCache>
                <c:ptCount val="2"/>
                <c:pt idx="0">
                  <c:v>Recommendation implemented</c:v>
                </c:pt>
                <c:pt idx="1">
                  <c:v>Recommendation not yet implemented</c:v>
                </c:pt>
              </c:strCache>
            </c:strRef>
          </c:cat>
          <c:val>
            <c:numRef>
              <c:f>'HOD Q1 18.19 ALL'!$M$238:$M$240</c:f>
              <c:numCache>
                <c:formatCode>General</c:formatCode>
                <c:ptCount val="2"/>
                <c:pt idx="0">
                  <c:v>21</c:v>
                </c:pt>
                <c:pt idx="1">
                  <c:v>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271-472E-8AEA-F9BB4CEA53AC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6877736060019579"/>
          <c:y val="2.2275437906735671E-2"/>
          <c:w val="0.41652293298882281"/>
          <c:h val="0.36185901753826449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HOD Q1 18.19 ALL!PivotTable14</c:name>
    <c:fmtId val="3"/>
  </c:pivotSource>
  <c:chart>
    <c:autoTitleDeleted val="1"/>
    <c:pivotFmts>
      <c:pivotFmt>
        <c:idx val="0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2.6450905456718979E-2"/>
          <c:y val="0.1126926241435434"/>
          <c:w val="0.57282072105737114"/>
          <c:h val="0.84573335151075935"/>
        </c:manualLayout>
      </c:layout>
      <c:pie3DChart>
        <c:varyColors val="1"/>
        <c:ser>
          <c:idx val="0"/>
          <c:order val="0"/>
          <c:tx>
            <c:strRef>
              <c:f>'HOD Q1 18.19 ALL'!$M$329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CAA8-4D4D-8D44-CB391E0D57C7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HOD Q1 18.19 ALL'!$L$330:$L$332</c:f>
              <c:strCache>
                <c:ptCount val="2"/>
                <c:pt idx="0">
                  <c:v>Recommendation implemented</c:v>
                </c:pt>
                <c:pt idx="1">
                  <c:v>Recommendation not yet implemented</c:v>
                </c:pt>
              </c:strCache>
            </c:strRef>
          </c:cat>
          <c:val>
            <c:numRef>
              <c:f>'HOD Q1 18.19 ALL'!$M$330:$M$332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AA8-4D4D-8D44-CB391E0D57C7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7933499491985097"/>
          <c:y val="2.5146268485365983E-2"/>
          <c:w val="0.40957334623863312"/>
          <c:h val="0.45672045749711182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8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20180830 Case list Q1_Q3 SCOPA_V1.xlsx]HEALTH!PivotTable1</c:name>
    <c:fmtId val="14"/>
  </c:pivotSource>
  <c:chart>
    <c:autoTitleDeleted val="1"/>
    <c:pivotFmts>
      <c:pivotFmt>
        <c:idx val="0"/>
        <c:dLbl>
          <c:idx val="0"/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60500315646299652"/>
          <c:y val="3.8612097291365034E-2"/>
          <c:w val="0.39499684353700371"/>
          <c:h val="0.91437916922853157"/>
        </c:manualLayout>
      </c:layout>
      <c:barChart>
        <c:barDir val="bar"/>
        <c:grouping val="clustered"/>
        <c:ser>
          <c:idx val="0"/>
          <c:order val="0"/>
          <c:tx>
            <c:strRef>
              <c:f>HEALTH!$B$7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EALTH!$A$73:$A$81</c:f>
              <c:strCache>
                <c:ptCount val="8"/>
                <c:pt idx="0">
                  <c:v>Corruption</c:v>
                </c:pt>
                <c:pt idx="1">
                  <c:v>Corruption/Irregularity and/or Non Compliance</c:v>
                </c:pt>
                <c:pt idx="2">
                  <c:v>Fraud</c:v>
                </c:pt>
                <c:pt idx="3">
                  <c:v>Fraud and Theft</c:v>
                </c:pt>
                <c:pt idx="4">
                  <c:v>Irregularity and/or Non-Compliance</c:v>
                </c:pt>
                <c:pt idx="5">
                  <c:v>No Investigation </c:v>
                </c:pt>
                <c:pt idx="6">
                  <c:v>Only Preliminary Investigation required</c:v>
                </c:pt>
                <c:pt idx="7">
                  <c:v>Only Preliminary Investigation with recommendations</c:v>
                </c:pt>
              </c:strCache>
            </c:strRef>
          </c:cat>
          <c:val>
            <c:numRef>
              <c:f>HEALTH!$B$73:$B$81</c:f>
              <c:numCache>
                <c:formatCode>General</c:formatCode>
                <c:ptCount val="8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5</c:v>
                </c:pt>
                <c:pt idx="7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E36-4E40-B2C8-B5035390C053}"/>
            </c:ext>
          </c:extLst>
        </c:ser>
        <c:dLbls/>
        <c:gapWidth val="182"/>
        <c:axId val="93767552"/>
        <c:axId val="93769088"/>
      </c:barChart>
      <c:catAx>
        <c:axId val="93767552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3769088"/>
        <c:crosses val="autoZero"/>
        <c:auto val="1"/>
        <c:lblAlgn val="ctr"/>
        <c:lblOffset val="100"/>
      </c:catAx>
      <c:valAx>
        <c:axId val="93769088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93767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HEALTH!PivotTable13</c:name>
    <c:fmtId val="5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</c:pivotFmt>
      <c:pivotFmt>
        <c:idx val="4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3.0455423770367283E-2"/>
          <c:y val="0.15745606999437201"/>
          <c:w val="0.54680604371083563"/>
          <c:h val="0.78004409993447554"/>
        </c:manualLayout>
      </c:layout>
      <c:pie3DChart>
        <c:varyColors val="1"/>
        <c:ser>
          <c:idx val="0"/>
          <c:order val="0"/>
          <c:tx>
            <c:strRef>
              <c:f>HEALTH!$M$90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CBFC-47CE-9461-ECAC23A60910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1-CBFC-47CE-9461-ECAC23A60910}"/>
              </c:ext>
            </c:extLst>
          </c:dPt>
          <c:dPt>
            <c:idx val="2"/>
            <c:extLst xmlns:c16r2="http://schemas.microsoft.com/office/drawing/2015/06/chart">
              <c:ext xmlns:c16="http://schemas.microsoft.com/office/drawing/2014/chart" uri="{C3380CC4-5D6E-409C-BE32-E72D297353CC}">
                <c16:uniqueId val="{00000002-CBFC-47CE-9461-ECAC23A60910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HEALTH!$L$91:$L$94</c:f>
              <c:strCache>
                <c:ptCount val="3"/>
                <c:pt idx="0">
                  <c:v>Recommendation implemented</c:v>
                </c:pt>
                <c:pt idx="1">
                  <c:v>Recommendation not implementable</c:v>
                </c:pt>
                <c:pt idx="2">
                  <c:v>Recommendation not yet implemented</c:v>
                </c:pt>
              </c:strCache>
            </c:strRef>
          </c:cat>
          <c:val>
            <c:numRef>
              <c:f>HEALTH!$M$91:$M$94</c:f>
              <c:numCache>
                <c:formatCode>General</c:formatCode>
                <c:ptCount val="3"/>
                <c:pt idx="0">
                  <c:v>3</c:v>
                </c:pt>
                <c:pt idx="1">
                  <c:v>1</c:v>
                </c:pt>
                <c:pt idx="2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BFC-47CE-9461-ECAC23A60910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8097156833944541"/>
          <c:y val="1.4742466545096819E-2"/>
          <c:w val="0.40397466779484309"/>
          <c:h val="0.61199997020218999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8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HEALTH!PivotTable16</c:name>
    <c:fmtId val="5"/>
  </c:pivotSource>
  <c:chart>
    <c:autoTitleDeleted val="1"/>
    <c:pivotFmts>
      <c:pivotFmt>
        <c:idx val="0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</c:pivotFmt>
      <c:pivotFmt>
        <c:idx val="3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ln>
            <a:solidFill>
              <a:sysClr val="window" lastClr="FFFFFF"/>
            </a:solidFill>
          </a:ln>
        </c:spPr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dLblPos val="inEnd"/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2.6949461753466637E-2"/>
          <c:y val="0.21756957446282718"/>
          <c:w val="0.52384506509442841"/>
          <c:h val="0.73441936846663758"/>
        </c:manualLayout>
      </c:layout>
      <c:pie3DChart>
        <c:varyColors val="1"/>
        <c:ser>
          <c:idx val="0"/>
          <c:order val="0"/>
          <c:tx>
            <c:strRef>
              <c:f>HEALTH!$M$237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ysClr val="window" lastClr="FFFFFF"/>
              </a:solidFill>
            </a:ln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043E-40EF-9227-2F6F07D73279}"/>
              </c:ext>
            </c:extLst>
          </c:dPt>
          <c:dPt>
            <c:idx val="1"/>
            <c:extLst xmlns:c16r2="http://schemas.microsoft.com/office/drawing/2015/06/chart">
              <c:ext xmlns:c16="http://schemas.microsoft.com/office/drawing/2014/chart" uri="{C3380CC4-5D6E-409C-BE32-E72D297353CC}">
                <c16:uniqueId val="{00000001-043E-40EF-9227-2F6F07D73279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dLblPos val="inEnd"/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HEALTH!$L$238:$L$240</c:f>
              <c:strCache>
                <c:ptCount val="2"/>
                <c:pt idx="0">
                  <c:v>Recommendation implemented</c:v>
                </c:pt>
                <c:pt idx="1">
                  <c:v>Recommendation not yet implemented</c:v>
                </c:pt>
              </c:strCache>
            </c:strRef>
          </c:cat>
          <c:val>
            <c:numRef>
              <c:f>HEALTH!$M$238:$M$240</c:f>
              <c:numCache>
                <c:formatCode>General</c:formatCode>
                <c:ptCount val="2"/>
                <c:pt idx="0">
                  <c:v>5</c:v>
                </c:pt>
                <c:pt idx="1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43E-40EF-9227-2F6F07D73279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5407765418921373"/>
          <c:y val="8.9528615289024255E-2"/>
          <c:w val="0.4312226393998046"/>
          <c:h val="0.3805404502143514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pivotSource>
    <c:name>[20180628  Recommendations_Q1 18_19 v2_Updated recc.xlsx]HEALTH!PivotTable14</c:name>
    <c:fmtId val="5"/>
  </c:pivotSource>
  <c:chart>
    <c:autoTitleDeleted val="1"/>
    <c:pivotFmts>
      <c:pivotFmt>
        <c:idx val="0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</c:pivotFmt>
      <c:pivotFmt>
        <c:idx val="2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marker>
          <c:symbol val="none"/>
        </c:marker>
        <c:dLbl>
          <c:idx val="0"/>
          <c:spPr>
            <a:noFill/>
            <a:ln w="25400">
              <a:noFill/>
            </a:ln>
          </c:spPr>
          <c:txPr>
            <a:bodyPr wrap="square" lIns="38100" tIns="19050" rIns="38100" bIns="19050" anchor="ctr">
              <a:spAutoFit/>
            </a:bodyPr>
            <a:lstStyle/>
            <a:p>
              <a:pPr>
                <a:defRPr sz="1000" b="0" i="0" u="none" strike="noStrike" baseline="0">
                  <a:solidFill>
                    <a:srgbClr val="000000"/>
                  </a:solidFill>
                  <a:latin typeface="Century Gothic"/>
                  <a:ea typeface="Century Gothic"/>
                  <a:cs typeface="Century Gothic"/>
                </a:defRPr>
              </a:pPr>
              <a:endParaRPr lang="en-US"/>
            </a:p>
          </c:txPr>
          <c:showVal val="1"/>
          <c:showPercent val="1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view3D>
      <c:rotX val="30"/>
      <c:perspective val="0"/>
    </c:view3D>
    <c:plotArea>
      <c:layout>
        <c:manualLayout>
          <c:layoutTarget val="inner"/>
          <c:xMode val="edge"/>
          <c:yMode val="edge"/>
          <c:x val="1.8324428196475444E-2"/>
          <c:y val="0.11100155538273525"/>
          <c:w val="0.58094722534683152"/>
          <c:h val="0.86618153538495724"/>
        </c:manualLayout>
      </c:layout>
      <c:pie3DChart>
        <c:varyColors val="1"/>
        <c:ser>
          <c:idx val="0"/>
          <c:order val="0"/>
          <c:tx>
            <c:strRef>
              <c:f>HEALTH!$M$329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401A-4594-A8F1-026E3E5E151A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entury Gothic"/>
                    <a:ea typeface="Century Gothic"/>
                    <a:cs typeface="Century Gothic"/>
                  </a:defRPr>
                </a:pPr>
                <a:endParaRPr lang="en-US"/>
              </a:p>
            </c:txPr>
            <c:showVal val="1"/>
            <c:showPercent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HEALTH!$L$330:$L$331</c:f>
              <c:strCache>
                <c:ptCount val="1"/>
                <c:pt idx="0">
                  <c:v>Recommendation not yet implemented</c:v>
                </c:pt>
              </c:strCache>
            </c:strRef>
          </c:cat>
          <c:val>
            <c:numRef>
              <c:f>HEALTH!$M$330:$M$331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01A-4594-A8F1-026E3E5E151A}"/>
            </c:ext>
          </c:extLst>
        </c:ser>
        <c:dLbls/>
      </c:pie3DChart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57911417322834657"/>
          <c:y val="2.5146354103080058E-2"/>
          <c:w val="0.37645153730783654"/>
          <c:h val="0.37652938650374851"/>
        </c:manualLayout>
      </c:layout>
      <c:txPr>
        <a:bodyPr/>
        <a:lstStyle/>
        <a:p>
          <a:pPr>
            <a:defRPr sz="825" b="0" i="0" u="none" strike="noStrike" baseline="0">
              <a:solidFill>
                <a:srgbClr val="000000"/>
              </a:solidFill>
              <a:latin typeface="Century Gothic"/>
              <a:ea typeface="Century Gothic"/>
              <a:cs typeface="Century Gothic"/>
            </a:defRPr>
          </a:pPr>
          <a:endParaRPr lang="en-US"/>
        </a:p>
      </c:txPr>
    </c:legend>
    <c:plotVisOnly val="1"/>
    <c:dispBlanksAs val="zero"/>
  </c:chart>
  <c:txPr>
    <a:bodyPr/>
    <a:lstStyle/>
    <a:p>
      <a:pPr>
        <a:defRPr sz="1800" b="0" i="0" u="none" strike="noStrike" baseline="0">
          <a:solidFill>
            <a:srgbClr val="000000"/>
          </a:solidFill>
          <a:latin typeface="Century Gothic"/>
          <a:ea typeface="Century Gothic"/>
          <a:cs typeface="Century Gothic"/>
        </a:defRPr>
      </a:pPr>
      <a:endParaRPr lang="en-US"/>
    </a:p>
  </c:txPr>
  <c:externalData r:id="rId2"/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pivotSource>
    <c:name>[20180830 Case list Q1_Q3 SCOPA_V1.xlsx]WCED!PivotTable1</c:name>
    <c:fmtId val="22"/>
  </c:pivotSource>
  <c:chart>
    <c:autoTitleDeleted val="1"/>
    <c:pivotFmts>
      <c:pivotFmt>
        <c:idx val="0"/>
        <c:dLbl>
          <c:idx val="0"/>
          <c:dLblPos val="outEnd"/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en-US"/>
            </a:p>
          </c:txPr>
          <c:showVal val="1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0.60500315646299652"/>
          <c:y val="3.8612097291365034E-2"/>
          <c:w val="0.39499684353700371"/>
          <c:h val="0.91437916922853157"/>
        </c:manualLayout>
      </c:layout>
      <c:barChart>
        <c:barDir val="bar"/>
        <c:grouping val="clustered"/>
        <c:ser>
          <c:idx val="0"/>
          <c:order val="0"/>
          <c:tx>
            <c:strRef>
              <c:f>WCED!$B$72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WCED!$A$73:$A$79</c:f>
              <c:strCache>
                <c:ptCount val="6"/>
                <c:pt idx="0">
                  <c:v>Corruption and Irregularity</c:v>
                </c:pt>
                <c:pt idx="1">
                  <c:v>Fraud</c:v>
                </c:pt>
                <c:pt idx="2">
                  <c:v>Fraud and Irregularity and /or Non Compliance</c:v>
                </c:pt>
                <c:pt idx="3">
                  <c:v>Fraud and/or Corruption, Theft, Irregularity and/or Non Compliance</c:v>
                </c:pt>
                <c:pt idx="4">
                  <c:v>Fraud and/or Corruption/Irregularity and/or Non Compliance </c:v>
                </c:pt>
                <c:pt idx="5">
                  <c:v>Only Preliminary Investigation required</c:v>
                </c:pt>
              </c:strCache>
            </c:strRef>
          </c:cat>
          <c:val>
            <c:numRef>
              <c:f>WCED!$B$73:$B$79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7E2-40E7-91AF-7CC1DF0346C1}"/>
            </c:ext>
          </c:extLst>
        </c:ser>
        <c:dLbls/>
        <c:gapWidth val="182"/>
        <c:axId val="93928448"/>
        <c:axId val="93938432"/>
      </c:barChart>
      <c:catAx>
        <c:axId val="93928448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3938432"/>
        <c:crosses val="autoZero"/>
        <c:auto val="1"/>
        <c:lblAlgn val="ctr"/>
        <c:lblOffset val="100"/>
      </c:catAx>
      <c:valAx>
        <c:axId val="93938432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93928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bg1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  <c:extLst xmlns:c16r2="http://schemas.microsoft.com/office/drawing/2015/06/chart">
    <c:ext xmlns:c14="http://schemas.microsoft.com/office/drawing/2007/8/2/chart" uri="{781A3756-C4B2-4CAC-9D66-4F8BD8637D16}">
      <c14:pivotOptions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pPr/>
              <a:t>21/09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738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18/09/21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7288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8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8120293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897533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4339866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090927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090927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814589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0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4323490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8009586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7341849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2337414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1190331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1646952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1046754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4855542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0909275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4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090927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4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090927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831031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582470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5898899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7374930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5715591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090927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9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09092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0102" y="1910659"/>
            <a:ext cx="2446066" cy="68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3rd quarter 30092013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82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it-IT" dirty="0"/>
              <a:t>WCG-SCOPA Statistics 4° quarter 30092013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59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868144" y="5805264"/>
            <a:ext cx="2736304" cy="504056"/>
          </a:xfrm>
        </p:spPr>
        <p:txBody>
          <a:bodyPr>
            <a:normAutofit lnSpcReduction="10000"/>
          </a:bodyPr>
          <a:lstStyle/>
          <a:p>
            <a:r>
              <a:rPr lang="en-GB" dirty="0"/>
              <a:t>WCG-SCOPA </a:t>
            </a:r>
          </a:p>
          <a:p>
            <a:r>
              <a:rPr lang="en-GB" dirty="0"/>
              <a:t>19 September 2018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156176" y="5373216"/>
            <a:ext cx="2448272" cy="365125"/>
          </a:xfrm>
        </p:spPr>
        <p:txBody>
          <a:bodyPr>
            <a:noAutofit/>
          </a:bodyPr>
          <a:lstStyle/>
          <a:p>
            <a:r>
              <a:rPr lang="en-GB" sz="1200" dirty="0"/>
              <a:t>Ruthven Janse van Rensburg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OVINCIAL FORENSIC SERVICEs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3528" y="4532528"/>
            <a:ext cx="8496944" cy="508552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Investigations undertaken in quarters 1, 2 &amp; 3 of the 2017/18 financial yea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75078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ecommendations made for the period – All Departmen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0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it-IT"/>
              <a:t>WCG-SCOPA Statistics 3rd quarter 30092013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1243043" y="1224591"/>
            <a:ext cx="71336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ZA" sz="1400" b="1" dirty="0"/>
              <a:t>Status of implementation of Control/Other Recommendations as at 30 June 2018</a:t>
            </a: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842463271"/>
              </p:ext>
            </p:extLst>
          </p:nvPr>
        </p:nvGraphicFramePr>
        <p:xfrm>
          <a:off x="1980111" y="1700808"/>
          <a:ext cx="5183777" cy="3183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887767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ZA" dirty="0"/>
              <a:t>Recommendations</a:t>
            </a:r>
            <a:r>
              <a:rPr lang="en-ZA" dirty="0">
                <a:solidFill>
                  <a:srgbClr val="FF0000"/>
                </a:solidFill>
              </a:rPr>
              <a:t> </a:t>
            </a:r>
            <a:r>
              <a:rPr lang="en-ZA" dirty="0"/>
              <a:t>made for the period</a:t>
            </a:r>
            <a:r>
              <a:rPr lang="en-ZA" dirty="0">
                <a:solidFill>
                  <a:schemeClr val="tx1"/>
                </a:solidFill>
              </a:rPr>
              <a:t> </a:t>
            </a:r>
            <a:r>
              <a:rPr lang="en-ZA" dirty="0"/>
              <a:t>– All Department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378080" y="6468150"/>
            <a:ext cx="514400" cy="230832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11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1069639" y="1152532"/>
            <a:ext cx="7560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/>
              <a:t>Status of implementation of Civil Action Recommendations as at 30 June 2018</a:t>
            </a: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10155485"/>
              </p:ext>
            </p:extLst>
          </p:nvPr>
        </p:nvGraphicFramePr>
        <p:xfrm>
          <a:off x="2123728" y="1772816"/>
          <a:ext cx="4570732" cy="3484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35988888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1015776"/>
          </a:xfrm>
        </p:spPr>
        <p:txBody>
          <a:bodyPr/>
          <a:lstStyle/>
          <a:p>
            <a:r>
              <a:rPr lang="en-ZA" dirty="0"/>
              <a:t>Criminal cases – All Department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378080" y="6468150"/>
            <a:ext cx="514400" cy="230832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 dirty="0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395536" y="1268760"/>
            <a:ext cx="8208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dirty="0"/>
              <a:t>PFS recommended criminal action (SAPS cases) in 7 cases finalised during the 1</a:t>
            </a:r>
            <a:r>
              <a:rPr lang="en-ZA" sz="1400" baseline="30000" dirty="0"/>
              <a:t>st</a:t>
            </a:r>
            <a:r>
              <a:rPr lang="en-ZA" sz="1400" dirty="0"/>
              <a:t>, 2</a:t>
            </a:r>
            <a:r>
              <a:rPr lang="en-ZA" sz="1400" baseline="30000" dirty="0"/>
              <a:t>nd</a:t>
            </a:r>
            <a:r>
              <a:rPr lang="en-ZA" sz="1400" dirty="0"/>
              <a:t> and 3</a:t>
            </a:r>
            <a:r>
              <a:rPr lang="en-ZA" sz="1400" baseline="30000" dirty="0"/>
              <a:t>rd</a:t>
            </a:r>
            <a:r>
              <a:rPr lang="en-ZA" sz="1400" dirty="0"/>
              <a:t> quarters of 2017/2018. </a:t>
            </a:r>
          </a:p>
        </p:txBody>
      </p:sp>
    </p:spTree>
    <p:extLst>
      <p:ext uri="{BB962C8B-B14F-4D97-AF65-F5344CB8AC3E}">
        <p14:creationId xmlns:p14="http://schemas.microsoft.com/office/powerpoint/2010/main" xmlns="" val="35592816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Health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3620525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4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954164980"/>
              </p:ext>
            </p:extLst>
          </p:nvPr>
        </p:nvGraphicFramePr>
        <p:xfrm>
          <a:off x="1554480" y="1619249"/>
          <a:ext cx="6035040" cy="3619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5345736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ZA" dirty="0"/>
              <a:t>Recommendations made for the perio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5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99592" y="1268760"/>
            <a:ext cx="7632848" cy="4464497"/>
          </a:xfrm>
        </p:spPr>
        <p:txBody>
          <a:bodyPr/>
          <a:lstStyle/>
          <a:p>
            <a:pPr algn="ctr"/>
            <a:r>
              <a:rPr lang="en-ZA" dirty="0"/>
              <a:t>Status of implementation of Disciplinary Action Recommendations as at 30 June 2018</a:t>
            </a:r>
          </a:p>
          <a:p>
            <a:pPr algn="ctr"/>
            <a:endParaRPr lang="en-ZA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831401413"/>
              </p:ext>
            </p:extLst>
          </p:nvPr>
        </p:nvGraphicFramePr>
        <p:xfrm>
          <a:off x="2041071" y="1957796"/>
          <a:ext cx="5061857" cy="294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4633370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ZA" dirty="0"/>
              <a:t>Recommendations made for the perio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6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71601" y="1196753"/>
            <a:ext cx="7920880" cy="3960440"/>
          </a:xfrm>
        </p:spPr>
        <p:txBody>
          <a:bodyPr/>
          <a:lstStyle/>
          <a:p>
            <a:pPr algn="ctr"/>
            <a:r>
              <a:rPr lang="en-ZA" dirty="0"/>
              <a:t>Status of implementation of Control/Other Recommendations as at 30 June 2018</a:t>
            </a:r>
          </a:p>
          <a:p>
            <a:pPr algn="ctr"/>
            <a:endParaRPr lang="en-ZA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99282290"/>
              </p:ext>
            </p:extLst>
          </p:nvPr>
        </p:nvGraphicFramePr>
        <p:xfrm>
          <a:off x="1980111" y="1844824"/>
          <a:ext cx="5183777" cy="316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8172454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 dirty="0"/>
          </a:p>
        </p:txBody>
      </p:sp>
      <p:sp>
        <p:nvSpPr>
          <p:cNvPr id="7" name="Title 5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ZA" dirty="0"/>
              <a:t>Recommendations made for the period</a:t>
            </a: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818414" y="1212490"/>
            <a:ext cx="69204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ZA" sz="1400" b="1" dirty="0"/>
              <a:t>Status of implementation of Civil Action Recommendations as at 30 June 2018</a:t>
            </a:r>
          </a:p>
          <a:p>
            <a:pPr algn="ctr"/>
            <a:endParaRPr lang="en-ZA" sz="1400" b="1" dirty="0"/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43051508"/>
              </p:ext>
            </p:extLst>
          </p:nvPr>
        </p:nvGraphicFramePr>
        <p:xfrm>
          <a:off x="2438400" y="1844824"/>
          <a:ext cx="4267200" cy="2880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42557715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8</a:t>
            </a:fld>
            <a:endParaRPr lang="en-ZA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riminal cases</a:t>
            </a:r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295275" y="1196752"/>
            <a:ext cx="874122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dirty="0"/>
              <a:t>PFS recommended criminal action (SAPS cases) in 2 cases finalised during the 1</a:t>
            </a:r>
            <a:r>
              <a:rPr lang="en-ZA" sz="1400" baseline="30000" dirty="0"/>
              <a:t>st</a:t>
            </a:r>
            <a:r>
              <a:rPr lang="en-ZA" sz="1400" dirty="0"/>
              <a:t>, 2</a:t>
            </a:r>
            <a:r>
              <a:rPr lang="en-ZA" sz="1400" baseline="30000" dirty="0"/>
              <a:t>nd</a:t>
            </a:r>
            <a:r>
              <a:rPr lang="en-ZA" sz="1400" dirty="0"/>
              <a:t> and 3</a:t>
            </a:r>
            <a:r>
              <a:rPr lang="en-ZA" sz="1400" baseline="30000" dirty="0"/>
              <a:t>rd</a:t>
            </a:r>
            <a:r>
              <a:rPr lang="en-ZA" sz="1400" dirty="0"/>
              <a:t> quarters of  2017/2018. </a:t>
            </a:r>
          </a:p>
          <a:p>
            <a:endParaRPr lang="en-ZA" sz="1100" dirty="0"/>
          </a:p>
        </p:txBody>
      </p:sp>
    </p:spTree>
    <p:extLst>
      <p:ext uri="{BB962C8B-B14F-4D97-AF65-F5344CB8AC3E}">
        <p14:creationId xmlns:p14="http://schemas.microsoft.com/office/powerpoint/2010/main" xmlns="" val="12736199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Educ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811753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581" b="78222"/>
          <a:stretch/>
        </p:blipFill>
        <p:spPr bwMode="auto">
          <a:xfrm>
            <a:off x="0" y="0"/>
            <a:ext cx="9144000" cy="162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1" y="1600202"/>
            <a:ext cx="8435279" cy="514023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Mr F C Christian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Chairperson: Public Accounts Committe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P O Box 648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Cape Tow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8000</a:t>
            </a:r>
          </a:p>
          <a:p>
            <a:pPr marL="0" indent="0">
              <a:spcBef>
                <a:spcPts val="0"/>
              </a:spcBef>
              <a:buNone/>
            </a:pPr>
            <a:endParaRPr lang="en-ZA" sz="1200" b="0" dirty="0"/>
          </a:p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Dear Mr Christians</a:t>
            </a:r>
          </a:p>
          <a:p>
            <a:pPr marL="0" indent="0">
              <a:spcBef>
                <a:spcPts val="0"/>
              </a:spcBef>
              <a:buNone/>
            </a:pPr>
            <a:endParaRPr lang="en-ZA" sz="1200" b="0" dirty="0"/>
          </a:p>
          <a:p>
            <a:pPr>
              <a:spcBef>
                <a:spcPts val="0"/>
              </a:spcBef>
            </a:pPr>
            <a:r>
              <a:rPr lang="en-US" sz="1200" dirty="0"/>
              <a:t>BRIEFING BY PROVINCIAL FORENSIC SERVICES</a:t>
            </a:r>
          </a:p>
          <a:p>
            <a:pPr>
              <a:spcBef>
                <a:spcPts val="0"/>
              </a:spcBef>
            </a:pPr>
            <a:endParaRPr lang="en-US" sz="1200" dirty="0"/>
          </a:p>
          <a:p>
            <a:pPr algn="just">
              <a:spcBef>
                <a:spcPts val="0"/>
              </a:spcBef>
            </a:pPr>
            <a:r>
              <a:rPr lang="en-US" sz="1200" b="0" dirty="0"/>
              <a:t>The Provincial Forensic Services (PFS) were requested to brief the Committee on the investigations that were undertaken in the Western Cape Government during the 1</a:t>
            </a:r>
            <a:r>
              <a:rPr lang="en-US" sz="1200" b="0" baseline="30000" dirty="0"/>
              <a:t>st</a:t>
            </a:r>
            <a:r>
              <a:rPr lang="en-US" sz="1200" b="0" dirty="0"/>
              <a:t>, 2</a:t>
            </a:r>
            <a:r>
              <a:rPr lang="en-US" sz="1200" b="0" baseline="30000" dirty="0"/>
              <a:t>nd</a:t>
            </a:r>
            <a:r>
              <a:rPr lang="en-US" sz="1200" b="0" dirty="0"/>
              <a:t> and 3</a:t>
            </a:r>
            <a:r>
              <a:rPr lang="en-US" sz="1200" b="0" baseline="30000" dirty="0"/>
              <a:t>rd</a:t>
            </a:r>
            <a:r>
              <a:rPr lang="en-US" sz="1200" b="0" dirty="0"/>
              <a:t> quarters of the 2017/18 financial year.</a:t>
            </a:r>
          </a:p>
          <a:p>
            <a:pPr marL="0" indent="0" algn="just">
              <a:spcBef>
                <a:spcPts val="0"/>
              </a:spcBef>
              <a:buNone/>
            </a:pPr>
            <a:endParaRPr lang="en-ZA" sz="1200" b="0" dirty="0"/>
          </a:p>
          <a:p>
            <a:pPr marL="0" indent="0" algn="just">
              <a:spcBef>
                <a:spcPts val="0"/>
              </a:spcBef>
              <a:buNone/>
            </a:pPr>
            <a:r>
              <a:rPr lang="en-ZA" sz="1200" b="0" dirty="0"/>
              <a:t>I am pleased to submit our presentation herewith.  Should you require additional information, please do not hesitate to contact me at (021) 483 0931.</a:t>
            </a:r>
          </a:p>
          <a:p>
            <a:pPr marL="0" indent="0">
              <a:spcBef>
                <a:spcPts val="0"/>
              </a:spcBef>
              <a:buNone/>
            </a:pPr>
            <a:endParaRPr lang="en-ZA" sz="1200" b="0" dirty="0"/>
          </a:p>
          <a:p>
            <a:pPr marL="0" indent="0">
              <a:spcBef>
                <a:spcPts val="0"/>
              </a:spcBef>
              <a:buNone/>
            </a:pPr>
            <a:r>
              <a:rPr lang="en-ZA" sz="1200" b="0" dirty="0"/>
              <a:t>Yours sincerely</a:t>
            </a:r>
          </a:p>
          <a:p>
            <a:pPr marL="0" indent="0">
              <a:spcBef>
                <a:spcPts val="0"/>
              </a:spcBef>
              <a:buNone/>
            </a:pPr>
            <a:endParaRPr lang="en-ZA" sz="1200" b="0" dirty="0"/>
          </a:p>
          <a:p>
            <a:pPr marL="0" indent="0">
              <a:spcBef>
                <a:spcPts val="0"/>
              </a:spcBef>
              <a:buNone/>
            </a:pPr>
            <a:endParaRPr lang="en-ZA" sz="1200" b="0" dirty="0"/>
          </a:p>
          <a:p>
            <a:pPr marL="0" indent="0">
              <a:spcBef>
                <a:spcPts val="0"/>
              </a:spcBef>
              <a:buNone/>
            </a:pPr>
            <a:endParaRPr lang="en-ZA" sz="1200" b="0" dirty="0"/>
          </a:p>
          <a:p>
            <a:pPr marL="0" indent="0">
              <a:spcBef>
                <a:spcPts val="0"/>
              </a:spcBef>
              <a:buNone/>
            </a:pPr>
            <a:r>
              <a:rPr lang="en-ZA" sz="1200" dirty="0"/>
              <a:t>Ruthven Janse van Rensburg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dirty="0"/>
              <a:t>Chief Director:  Provincial Forensic Servic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ZA" sz="1200" dirty="0"/>
              <a:t>Date: 2018-12-13</a:t>
            </a:r>
          </a:p>
        </p:txBody>
      </p:sp>
      <p:sp>
        <p:nvSpPr>
          <p:cNvPr id="4" name="Rectangle 3"/>
          <p:cNvSpPr/>
          <p:nvPr/>
        </p:nvSpPr>
        <p:spPr>
          <a:xfrm>
            <a:off x="4572000" y="0"/>
            <a:ext cx="4572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ZA" sz="1600" dirty="0"/>
              <a:t>Provincial Forensic Services</a:t>
            </a:r>
          </a:p>
          <a:p>
            <a:r>
              <a:rPr lang="en-ZA" sz="1100" dirty="0"/>
              <a:t>Reference:  2/11/2/R</a:t>
            </a:r>
          </a:p>
          <a:p>
            <a:r>
              <a:rPr lang="en-ZA" sz="1100" dirty="0"/>
              <a:t>Enquiries:  Ruthven Janse van Rensburg</a:t>
            </a:r>
          </a:p>
          <a:p>
            <a:r>
              <a:rPr lang="en-ZA" dirty="0"/>
              <a:t> </a:t>
            </a: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ZA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il 17 – 31 Dec 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829954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0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05410249"/>
              </p:ext>
            </p:extLst>
          </p:nvPr>
        </p:nvGraphicFramePr>
        <p:xfrm>
          <a:off x="1403648" y="1340769"/>
          <a:ext cx="6624736" cy="3897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41243107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9512" y="336125"/>
            <a:ext cx="8597205" cy="559256"/>
          </a:xfrm>
          <a:noFill/>
        </p:spPr>
        <p:txBody>
          <a:bodyPr/>
          <a:lstStyle/>
          <a:p>
            <a:r>
              <a:rPr lang="en-ZA" dirty="0"/>
              <a:t>Recommendations made for the perio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1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27584" y="1124744"/>
            <a:ext cx="7550496" cy="4176464"/>
          </a:xfrm>
        </p:spPr>
        <p:txBody>
          <a:bodyPr/>
          <a:lstStyle/>
          <a:p>
            <a:pPr algn="ctr"/>
            <a:r>
              <a:rPr lang="en-ZA" dirty="0"/>
              <a:t>Status of implementation of Disciplinary Action Recommendations as at 30 June 2018</a:t>
            </a:r>
          </a:p>
          <a:p>
            <a:endParaRPr lang="en-ZA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678580801"/>
              </p:ext>
            </p:extLst>
          </p:nvPr>
        </p:nvGraphicFramePr>
        <p:xfrm>
          <a:off x="2041071" y="1957796"/>
          <a:ext cx="5061857" cy="294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35592670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79512" y="336125"/>
            <a:ext cx="8597205" cy="559256"/>
          </a:xfrm>
          <a:noFill/>
        </p:spPr>
        <p:txBody>
          <a:bodyPr/>
          <a:lstStyle/>
          <a:p>
            <a:r>
              <a:rPr lang="en-ZA" dirty="0"/>
              <a:t>Recommendations made for the perio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2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475656" y="1283525"/>
            <a:ext cx="7128792" cy="4392488"/>
          </a:xfrm>
        </p:spPr>
        <p:txBody>
          <a:bodyPr/>
          <a:lstStyle/>
          <a:p>
            <a:pPr algn="ctr"/>
            <a:r>
              <a:rPr lang="en-ZA" dirty="0"/>
              <a:t>Status of implementation of Control/Other Recommendations as at 30 June 2018</a:t>
            </a:r>
          </a:p>
          <a:p>
            <a:endParaRPr lang="en-ZA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01274295"/>
              </p:ext>
            </p:extLst>
          </p:nvPr>
        </p:nvGraphicFramePr>
        <p:xfrm>
          <a:off x="1980111" y="1844824"/>
          <a:ext cx="5183777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5922309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3</a:t>
            </a:fld>
            <a:endParaRPr lang="en-ZA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264146"/>
            <a:ext cx="8597205" cy="559256"/>
          </a:xfrm>
        </p:spPr>
        <p:txBody>
          <a:bodyPr/>
          <a:lstStyle/>
          <a:p>
            <a:r>
              <a:rPr lang="en-ZA" dirty="0"/>
              <a:t>Recommendations made for the period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2" name="TextBox 1"/>
          <p:cNvSpPr txBox="1"/>
          <p:nvPr/>
        </p:nvSpPr>
        <p:spPr>
          <a:xfrm>
            <a:off x="467544" y="1238736"/>
            <a:ext cx="80648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/>
              <a:t>Status of implementation of Civil Action Recommendations as at 30 June 2018</a:t>
            </a:r>
          </a:p>
          <a:p>
            <a:pPr algn="ctr"/>
            <a:endParaRPr lang="en-ZA" sz="1400" b="1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201452832"/>
              </p:ext>
            </p:extLst>
          </p:nvPr>
        </p:nvGraphicFramePr>
        <p:xfrm>
          <a:off x="2460277" y="2062529"/>
          <a:ext cx="4267200" cy="2486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0248840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4</a:t>
            </a:fld>
            <a:endParaRPr lang="en-ZA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ZA" dirty="0"/>
              <a:t>Criminal cases</a:t>
            </a:r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2" name="Rectangle 1"/>
          <p:cNvSpPr/>
          <p:nvPr/>
        </p:nvSpPr>
        <p:spPr>
          <a:xfrm>
            <a:off x="295274" y="1052736"/>
            <a:ext cx="874122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ZA" sz="1100" dirty="0"/>
          </a:p>
          <a:p>
            <a:r>
              <a:rPr lang="en-ZA" sz="1400" dirty="0"/>
              <a:t>PFS recommended criminal action (SAPS cases) in 4 cases finalised during the 1</a:t>
            </a:r>
            <a:r>
              <a:rPr lang="en-ZA" sz="1400" baseline="30000" dirty="0"/>
              <a:t>st</a:t>
            </a:r>
            <a:r>
              <a:rPr lang="en-ZA" sz="1400" dirty="0"/>
              <a:t>,  2</a:t>
            </a:r>
            <a:r>
              <a:rPr lang="en-ZA" sz="1400" baseline="30000" dirty="0"/>
              <a:t>nd</a:t>
            </a:r>
            <a:r>
              <a:rPr lang="en-ZA" sz="1400" dirty="0"/>
              <a:t> and 3</a:t>
            </a:r>
            <a:r>
              <a:rPr lang="en-ZA" sz="1400" baseline="30000" dirty="0"/>
              <a:t>rd</a:t>
            </a:r>
            <a:r>
              <a:rPr lang="en-ZA" sz="1400" dirty="0"/>
              <a:t> quarters of 2017/2018. </a:t>
            </a:r>
          </a:p>
          <a:p>
            <a:endParaRPr lang="en-ZA" sz="1100" dirty="0"/>
          </a:p>
        </p:txBody>
      </p:sp>
    </p:spTree>
    <p:extLst>
      <p:ext uri="{BB962C8B-B14F-4D97-AF65-F5344CB8AC3E}">
        <p14:creationId xmlns:p14="http://schemas.microsoft.com/office/powerpoint/2010/main" xmlns="" val="3851274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>
            <a:normAutofit fontScale="92500"/>
          </a:bodyPr>
          <a:lstStyle/>
          <a:p>
            <a:pPr algn="ctr"/>
            <a:r>
              <a:rPr lang="en-GB" dirty="0"/>
              <a:t>Department of Transport and Public Work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8117535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6</a:t>
            </a:fld>
            <a:endParaRPr lang="en-ZA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009983786"/>
              </p:ext>
            </p:extLst>
          </p:nvPr>
        </p:nvGraphicFramePr>
        <p:xfrm>
          <a:off x="899592" y="2057400"/>
          <a:ext cx="7478488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3405862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Cultural Affairs and Spor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8117535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8</a:t>
            </a:fld>
            <a:endParaRPr lang="en-ZA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76831753"/>
              </p:ext>
            </p:extLst>
          </p:nvPr>
        </p:nvGraphicFramePr>
        <p:xfrm>
          <a:off x="1259632" y="2057400"/>
          <a:ext cx="698477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7583075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ecommendations made for the perio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9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55576" y="1156154"/>
            <a:ext cx="7622504" cy="4896073"/>
          </a:xfrm>
        </p:spPr>
        <p:txBody>
          <a:bodyPr/>
          <a:lstStyle/>
          <a:p>
            <a:pPr algn="ctr"/>
            <a:r>
              <a:rPr lang="en-ZA" dirty="0"/>
              <a:t>Status of implementation of Disciplinary Action Recommendations as at 30 June 2018</a:t>
            </a:r>
          </a:p>
          <a:p>
            <a:endParaRPr lang="en-ZA" dirty="0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680085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848162064"/>
              </p:ext>
            </p:extLst>
          </p:nvPr>
        </p:nvGraphicFramePr>
        <p:xfrm>
          <a:off x="2041071" y="1957796"/>
          <a:ext cx="5061857" cy="294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3788075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>
            <a:normAutofit fontScale="92500"/>
          </a:bodyPr>
          <a:lstStyle/>
          <a:p>
            <a:pPr algn="ctr"/>
            <a:r>
              <a:rPr lang="en-GB" dirty="0"/>
              <a:t>Case Load Reconciliation – All Departme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4050998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ecommendations made for the perio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0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403648" y="1137899"/>
            <a:ext cx="7128792" cy="4307326"/>
          </a:xfrm>
        </p:spPr>
        <p:txBody>
          <a:bodyPr/>
          <a:lstStyle/>
          <a:p>
            <a:pPr algn="ctr"/>
            <a:r>
              <a:rPr lang="en-ZA" dirty="0"/>
              <a:t>Status of implementation of Control/Other Recommendations as at 30 June 2018</a:t>
            </a:r>
          </a:p>
          <a:p>
            <a:endParaRPr lang="en-ZA" dirty="0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680085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62212779"/>
              </p:ext>
            </p:extLst>
          </p:nvPr>
        </p:nvGraphicFramePr>
        <p:xfrm>
          <a:off x="1763688" y="1916832"/>
          <a:ext cx="5183777" cy="2909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4205957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en-GB" dirty="0"/>
              <a:t>Department of Economic Development and Touris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4280876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 of completed case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378080" y="6468150"/>
            <a:ext cx="514400" cy="230832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32</a:t>
            </a:fld>
            <a:endParaRPr lang="en-ZA" dirty="0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1187624" y="2057400"/>
          <a:ext cx="6696744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5299832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Community Safe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6161153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4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625557783"/>
              </p:ext>
            </p:extLst>
          </p:nvPr>
        </p:nvGraphicFramePr>
        <p:xfrm>
          <a:off x="1554480" y="1619249"/>
          <a:ext cx="6035040" cy="3619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5229665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ecommendations made for the perio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5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55576" y="1156154"/>
            <a:ext cx="7622504" cy="4896073"/>
          </a:xfrm>
        </p:spPr>
        <p:txBody>
          <a:bodyPr/>
          <a:lstStyle/>
          <a:p>
            <a:pPr algn="ctr"/>
            <a:r>
              <a:rPr lang="en-ZA" dirty="0"/>
              <a:t>Status of implementation of Disciplinary Action Recommendations as at 30 June 2018</a:t>
            </a:r>
          </a:p>
          <a:p>
            <a:pPr algn="ctr"/>
            <a:endParaRPr lang="en-ZA" dirty="0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680085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208505234"/>
              </p:ext>
            </p:extLst>
          </p:nvPr>
        </p:nvGraphicFramePr>
        <p:xfrm>
          <a:off x="2041071" y="1957796"/>
          <a:ext cx="5061857" cy="294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7642823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Social Develop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54462514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7</a:t>
            </a:fld>
            <a:endParaRPr lang="en-ZA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</a:t>
            </a:r>
            <a:endParaRPr lang="en-GB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44670486"/>
              </p:ext>
            </p:extLst>
          </p:nvPr>
        </p:nvGraphicFramePr>
        <p:xfrm>
          <a:off x="1554480" y="1619249"/>
          <a:ext cx="6035040" cy="3321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0552569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ecommendations made for the perio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8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43607" y="1137899"/>
            <a:ext cx="7138045" cy="4307326"/>
          </a:xfrm>
        </p:spPr>
        <p:txBody>
          <a:bodyPr/>
          <a:lstStyle/>
          <a:p>
            <a:pPr algn="ctr"/>
            <a:r>
              <a:rPr lang="en-ZA" dirty="0"/>
              <a:t>Status of implementation of Control/Other Recommendations as at 30 June 2018</a:t>
            </a:r>
          </a:p>
          <a:p>
            <a:endParaRPr lang="en-ZA" dirty="0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680085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32515494"/>
              </p:ext>
            </p:extLst>
          </p:nvPr>
        </p:nvGraphicFramePr>
        <p:xfrm>
          <a:off x="1980111" y="1974124"/>
          <a:ext cx="5183777" cy="2909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410587272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Human Settleme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811753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  <a:noFill/>
        </p:spPr>
        <p:txBody>
          <a:bodyPr/>
          <a:lstStyle/>
          <a:p>
            <a:r>
              <a:rPr lang="en-ZA" dirty="0"/>
              <a:t>Case Load Reconciliation – All Departments</a:t>
            </a:r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9723687"/>
              </p:ext>
            </p:extLst>
          </p:nvPr>
        </p:nvGraphicFramePr>
        <p:xfrm>
          <a:off x="1475656" y="980726"/>
          <a:ext cx="4780726" cy="3648624"/>
        </p:xfrm>
        <a:graphic>
          <a:graphicData uri="http://schemas.openxmlformats.org/drawingml/2006/table">
            <a:tbl>
              <a:tblPr/>
              <a:tblGrid>
                <a:gridCol w="36684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1228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081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SE</a:t>
                      </a:r>
                      <a:r>
                        <a:rPr lang="en-ZA" sz="1100" b="1" baseline="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LOAD RECONCILIATION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endParaRPr lang="en-ZA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7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FS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810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ases as at 1 April 20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0810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Q1 - Q3 17/18 -  New Cas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9203685"/>
                  </a:ext>
                </a:extLst>
              </a:tr>
              <a:tr h="60810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Q1 - Q3 17/18  - Closed Cas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(28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0810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Q1 - Q3 17/18  - Referred Cas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(1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08104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Cases as at 31 December 20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67323530"/>
              </p:ext>
            </p:extLst>
          </p:nvPr>
        </p:nvGraphicFramePr>
        <p:xfrm>
          <a:off x="1475656" y="4701370"/>
          <a:ext cx="4780726" cy="1459783"/>
        </p:xfrm>
        <a:graphic>
          <a:graphicData uri="http://schemas.openxmlformats.org/drawingml/2006/table">
            <a:tbl>
              <a:tblPr/>
              <a:tblGrid>
                <a:gridCol w="3668437">
                  <a:extLst>
                    <a:ext uri="{9D8B030D-6E8A-4147-A177-3AD203B41FA5}">
                      <a16:colId xmlns:a16="http://schemas.microsoft.com/office/drawing/2014/main" xmlns="" val="2080930717"/>
                    </a:ext>
                  </a:extLst>
                </a:gridCol>
                <a:gridCol w="1112289">
                  <a:extLst>
                    <a:ext uri="{9D8B030D-6E8A-4147-A177-3AD203B41FA5}">
                      <a16:colId xmlns:a16="http://schemas.microsoft.com/office/drawing/2014/main" xmlns="" val="2575990700"/>
                    </a:ext>
                  </a:extLst>
                </a:gridCol>
              </a:tblGrid>
              <a:tr h="4316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2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1" kern="1200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SE LOAD ON HAND AS AT 31 DECEMBER 2017</a:t>
                      </a:r>
                    </a:p>
                    <a:p>
                      <a:pPr>
                        <a:lnSpc>
                          <a:spcPct val="107000"/>
                        </a:lnSpc>
                      </a:pPr>
                      <a:endParaRPr lang="en-ZA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7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FS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27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43982544"/>
                  </a:ext>
                </a:extLst>
              </a:tr>
              <a:tr h="425885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</a:t>
                      </a:r>
                      <a:r>
                        <a:rPr lang="en-ZA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Progress cases (Refer to Slide 5)</a:t>
                      </a:r>
                      <a:endParaRPr lang="en-ZA" sz="11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71602987"/>
                  </a:ext>
                </a:extLst>
              </a:tr>
              <a:tr h="425885">
                <a:tc>
                  <a:txBody>
                    <a:bodyPr/>
                    <a:lstStyle/>
                    <a:p>
                      <a:pPr algn="l" fontAlgn="ctr"/>
                      <a:r>
                        <a:rPr lang="en-ZA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Cases not yet started (at 31 December 2017)</a:t>
                      </a:r>
                      <a:endParaRPr lang="en-ZA" sz="11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E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873128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6295107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0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11834867"/>
              </p:ext>
            </p:extLst>
          </p:nvPr>
        </p:nvGraphicFramePr>
        <p:xfrm>
          <a:off x="1554480" y="1916832"/>
          <a:ext cx="6035040" cy="3024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94570436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Department of Local Govern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81175355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comes of Completed Cas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2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88967128"/>
              </p:ext>
            </p:extLst>
          </p:nvPr>
        </p:nvGraphicFramePr>
        <p:xfrm>
          <a:off x="1554480" y="1619249"/>
          <a:ext cx="6035040" cy="2817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61212759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3</a:t>
            </a:fld>
            <a:endParaRPr lang="en-ZA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riminal cases</a:t>
            </a:r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295275" y="1124744"/>
            <a:ext cx="874122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en-ZA" sz="1100" dirty="0">
              <a:solidFill>
                <a:prstClr val="black"/>
              </a:solidFill>
            </a:endParaRPr>
          </a:p>
          <a:p>
            <a:r>
              <a:rPr lang="en-ZA" sz="1400" dirty="0"/>
              <a:t>PFS recommended criminal action (SAPS cases) in one case finalised during the 1</a:t>
            </a:r>
            <a:r>
              <a:rPr lang="en-ZA" sz="1400" baseline="30000" dirty="0"/>
              <a:t>st</a:t>
            </a:r>
            <a:r>
              <a:rPr lang="en-ZA" sz="1400" dirty="0"/>
              <a:t>,  2</a:t>
            </a:r>
            <a:r>
              <a:rPr lang="en-ZA" sz="1400" baseline="30000" dirty="0"/>
              <a:t>nd</a:t>
            </a:r>
            <a:r>
              <a:rPr lang="en-ZA" sz="1400" dirty="0"/>
              <a:t> and 3</a:t>
            </a:r>
            <a:r>
              <a:rPr lang="en-ZA" sz="1400" baseline="30000" dirty="0"/>
              <a:t>rd</a:t>
            </a:r>
            <a:r>
              <a:rPr lang="en-ZA" sz="1400" dirty="0"/>
              <a:t> quarter of  2017/2018. </a:t>
            </a:r>
          </a:p>
          <a:p>
            <a:pPr lvl="0"/>
            <a:r>
              <a:rPr lang="en-ZA" sz="1100" dirty="0">
                <a:solidFill>
                  <a:prstClr val="black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xmlns="" val="344466049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552" y="2780928"/>
            <a:ext cx="8281291" cy="936625"/>
          </a:xfrm>
        </p:spPr>
        <p:txBody>
          <a:bodyPr/>
          <a:lstStyle/>
          <a:p>
            <a:pPr algn="ctr"/>
            <a:r>
              <a:rPr lang="en-GB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811753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 Investigations in progress during Q1, Q2 and Q3 2017-18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it-IT" dirty="0"/>
              <a:t>WCG-SCOPA Statistics 1st, 2nd &amp; 3rd quarters 2017/18</a:t>
            </a:r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78626810"/>
              </p:ext>
            </p:extLst>
          </p:nvPr>
        </p:nvGraphicFramePr>
        <p:xfrm>
          <a:off x="990600" y="1124747"/>
          <a:ext cx="7162800" cy="48965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3400">
                  <a:extLst>
                    <a:ext uri="{9D8B030D-6E8A-4147-A177-3AD203B41FA5}">
                      <a16:colId xmlns:a16="http://schemas.microsoft.com/office/drawing/2014/main" xmlns="" val="1005495916"/>
                    </a:ext>
                  </a:extLst>
                </a:gridCol>
                <a:gridCol w="1320800">
                  <a:extLst>
                    <a:ext uri="{9D8B030D-6E8A-4147-A177-3AD203B41FA5}">
                      <a16:colId xmlns:a16="http://schemas.microsoft.com/office/drawing/2014/main" xmlns="" val="873958869"/>
                    </a:ext>
                  </a:extLst>
                </a:gridCol>
                <a:gridCol w="977900">
                  <a:extLst>
                    <a:ext uri="{9D8B030D-6E8A-4147-A177-3AD203B41FA5}">
                      <a16:colId xmlns:a16="http://schemas.microsoft.com/office/drawing/2014/main" xmlns="" val="3341984292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xmlns="" val="2725422927"/>
                    </a:ext>
                  </a:extLst>
                </a:gridCol>
                <a:gridCol w="2197100">
                  <a:extLst>
                    <a:ext uri="{9D8B030D-6E8A-4147-A177-3AD203B41FA5}">
                      <a16:colId xmlns:a16="http://schemas.microsoft.com/office/drawing/2014/main" xmlns="" val="3484024139"/>
                    </a:ext>
                  </a:extLst>
                </a:gridCol>
              </a:tblGrid>
              <a:tr h="222570"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b="1" u="none" strike="noStrike" dirty="0">
                          <a:effectLst/>
                        </a:rPr>
                        <a:t>No</a:t>
                      </a:r>
                      <a:endParaRPr lang="en-ZA" sz="900" b="1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b="1" u="none" strike="noStrike" dirty="0">
                          <a:effectLst/>
                        </a:rPr>
                        <a:t>PFS reference</a:t>
                      </a:r>
                      <a:endParaRPr lang="en-ZA" sz="900" b="1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b="1" u="none" strike="noStrike" dirty="0">
                          <a:effectLst/>
                        </a:rPr>
                        <a:t>Department</a:t>
                      </a:r>
                      <a:endParaRPr lang="en-ZA" sz="900" b="1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b="1" u="none" strike="noStrike" dirty="0">
                          <a:effectLst/>
                        </a:rPr>
                        <a:t>Allegation Type</a:t>
                      </a:r>
                      <a:endParaRPr lang="en-ZA" sz="900" b="1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b="1" u="none" strike="noStrike" dirty="0">
                          <a:effectLst/>
                        </a:rPr>
                        <a:t>How Reported</a:t>
                      </a:r>
                      <a:endParaRPr lang="en-ZA" sz="900" b="1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479910204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FIU 155-14/15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T &amp; PW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Frau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WCG Ethics Reporting Line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2710547857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2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FIU 91-15/1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S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Frau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epartmental Referral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519357358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3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FIU 93-15/1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DSD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National Anti-Corruption Hotline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2642380114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4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FIU 101-15/1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S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epartmental Referral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157328760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5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FIU 123-15/1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WCED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Alleged Fraud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Whistle-blower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866693994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6-17-0-00004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Theft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National Anti-Corruption Hotline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454851768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6-17-0-000048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T &amp; PW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National Anti-Corruption Hotline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484296549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8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6-17-0-000065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Alleged Theft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Whistle-blower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322017029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9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6-17-0-000070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Frau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epartmental Referral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1149943935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10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6-17-0-000074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Alleged Theft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epartmental Referral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2160889351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1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6-17-0-000075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S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Alleged Financial Irregularities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Whistle-blower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646816696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12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6-17-0-00007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Financial Irregularitie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epartmental Referral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007464442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13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6-17-0-00007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Nepotism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Departmental Referral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58985086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14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7-18-0-000004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H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Theft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National Anti-Corruption Hotline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881885783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15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7-18-0-000008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S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Departmental Referral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9625735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1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7-18-0-000014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EADP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Departmental Referral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761731028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1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7-18-0-00001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OTP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Whistle-blower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738329781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18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7-18-0-000020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Financial Irregularitie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Departmental Referral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2400073753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19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7-18-0-00002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T &amp; PW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Frau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epartmental Referral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945066934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20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7-18-0-00002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OC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Financial Irregularitie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Department Referral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989951741"/>
                  </a:ext>
                </a:extLst>
              </a:tr>
              <a:tr h="222570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2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PFS17-18-0-000028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DOTP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50000"/>
                        </a:lnSpc>
                      </a:pPr>
                      <a:r>
                        <a:rPr lang="en-ZA" sz="900" u="none" strike="noStrike" dirty="0">
                          <a:effectLst/>
                        </a:rPr>
                        <a:t>Whistle-blower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xmlns="" val="3002500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5879440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8640"/>
            <a:ext cx="8848725" cy="864096"/>
          </a:xfrm>
        </p:spPr>
        <p:txBody>
          <a:bodyPr/>
          <a:lstStyle/>
          <a:p>
            <a:r>
              <a:rPr lang="en-ZA" dirty="0"/>
              <a:t>Cases closed between 1 April 2017 and 31 December 2017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it-IT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93944441"/>
              </p:ext>
            </p:extLst>
          </p:nvPr>
        </p:nvGraphicFramePr>
        <p:xfrm>
          <a:off x="467545" y="1016901"/>
          <a:ext cx="7910535" cy="51125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9347">
                  <a:extLst>
                    <a:ext uri="{9D8B030D-6E8A-4147-A177-3AD203B41FA5}">
                      <a16:colId xmlns:a16="http://schemas.microsoft.com/office/drawing/2014/main" xmlns="" val="2441302388"/>
                    </a:ext>
                  </a:extLst>
                </a:gridCol>
                <a:gridCol w="1410619">
                  <a:extLst>
                    <a:ext uri="{9D8B030D-6E8A-4147-A177-3AD203B41FA5}">
                      <a16:colId xmlns:a16="http://schemas.microsoft.com/office/drawing/2014/main" xmlns="" val="23600311"/>
                    </a:ext>
                  </a:extLst>
                </a:gridCol>
                <a:gridCol w="663821">
                  <a:extLst>
                    <a:ext uri="{9D8B030D-6E8A-4147-A177-3AD203B41FA5}">
                      <a16:colId xmlns:a16="http://schemas.microsoft.com/office/drawing/2014/main" xmlns="" val="2807678183"/>
                    </a:ext>
                  </a:extLst>
                </a:gridCol>
                <a:gridCol w="981902">
                  <a:extLst>
                    <a:ext uri="{9D8B030D-6E8A-4147-A177-3AD203B41FA5}">
                      <a16:colId xmlns:a16="http://schemas.microsoft.com/office/drawing/2014/main" xmlns="" val="1045555543"/>
                    </a:ext>
                  </a:extLst>
                </a:gridCol>
                <a:gridCol w="2005294">
                  <a:extLst>
                    <a:ext uri="{9D8B030D-6E8A-4147-A177-3AD203B41FA5}">
                      <a16:colId xmlns:a16="http://schemas.microsoft.com/office/drawing/2014/main" xmlns="" val="235093505"/>
                    </a:ext>
                  </a:extLst>
                </a:gridCol>
                <a:gridCol w="1659552">
                  <a:extLst>
                    <a:ext uri="{9D8B030D-6E8A-4147-A177-3AD203B41FA5}">
                      <a16:colId xmlns:a16="http://schemas.microsoft.com/office/drawing/2014/main" xmlns="" val="3905353878"/>
                    </a:ext>
                  </a:extLst>
                </a:gridCol>
              </a:tblGrid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 dirty="0">
                          <a:effectLst/>
                        </a:rPr>
                        <a:t>PFS Number</a:t>
                      </a:r>
                      <a:endParaRPr lang="en-ZA" sz="900" b="1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>
                          <a:effectLst/>
                        </a:rPr>
                        <a:t>Allegation Type</a:t>
                      </a:r>
                      <a:endParaRPr lang="en-ZA" sz="900" b="1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>
                          <a:effectLst/>
                        </a:rPr>
                        <a:t>Dept</a:t>
                      </a:r>
                      <a:endParaRPr lang="en-ZA" sz="900" b="1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>
                          <a:effectLst/>
                        </a:rPr>
                        <a:t>Date file closed</a:t>
                      </a:r>
                      <a:endParaRPr lang="en-ZA" sz="900" b="1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>
                          <a:effectLst/>
                        </a:rPr>
                        <a:t>Outcome</a:t>
                      </a:r>
                      <a:endParaRPr lang="en-ZA" sz="900" b="1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 dirty="0">
                          <a:effectLst/>
                        </a:rPr>
                        <a:t>Financial Implications - Rand Amount</a:t>
                      </a:r>
                      <a:endParaRPr lang="en-ZA" sz="900" b="1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2994379833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5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4/2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Fraud and/or Corruption/Irregularity and/or Non Compliance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3701841769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FIU 121-15/1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Alleged Fraud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5/2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Fraud and/or Corruption, Theft, Irregularity and/or Non Compliance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R7 971.00 (Fraud and Theft)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1808623660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FIU 23-16/1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Alleged Fraud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HEALTH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5/29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Only Preliminary Investigation requir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n/a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2503094362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53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Health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2017/05/30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Only Preliminary Investigation requir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n/a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3015497448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55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Other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2017/05/24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Only Preliminary Investigation with recommendations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n/a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1890754975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5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Other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5/30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Fraud and/or Corruption/Irregularity and/or Non Compliance 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R117 500.00 (Fraud)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3541787448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62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Other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DOC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5/30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on-compliance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n/a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3328274630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FIU 59-14/15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rocurement Frau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6/29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Only Preliminary Investigation required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n/a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1761951073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68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Theft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7/3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Fraud and/or Corruption, Theft, Irregularity and/or Non Compliance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R96 338.55 (Fraud and Theft)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1674834549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7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Theft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7/18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Fraud and Theft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R124 000.00 (Fraud and Theft)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1548534323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FIU 84-15/1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Frau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8/18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Irregularity and/or Non-Compliance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3868869599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54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appoinment irregularitie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8/1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Irregularity and/or Non-Compliance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3479685283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64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8/10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Only Preliminary Investigation requir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692242454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69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Theft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T &amp; PW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8/1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Referr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2396760094"/>
                  </a:ext>
                </a:extLst>
              </a:tr>
              <a:tr h="319536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73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Financial Irregularitie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DOC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8/1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Only Preliminary Investigation requir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572" marR="4572" marT="4572" marB="0" anchor="b"/>
                </a:tc>
                <a:extLst>
                  <a:ext uri="{0D108BD9-81ED-4DB2-BD59-A6C34878D82A}">
                    <a16:rowId xmlns:a16="http://schemas.microsoft.com/office/drawing/2014/main" xmlns="" val="37832285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8116733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ases closed between 1 April 2017 and 31 December 2017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it-IT" dirty="0"/>
              <a:t>WCG-SCOPA Statistics 1st, 2nd and  3rd quarter 2017/2018</a:t>
            </a:r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35683086"/>
              </p:ext>
            </p:extLst>
          </p:nvPr>
        </p:nvGraphicFramePr>
        <p:xfrm>
          <a:off x="467544" y="987425"/>
          <a:ext cx="8136903" cy="50338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3381">
                  <a:extLst>
                    <a:ext uri="{9D8B030D-6E8A-4147-A177-3AD203B41FA5}">
                      <a16:colId xmlns:a16="http://schemas.microsoft.com/office/drawing/2014/main" xmlns="" val="3551377809"/>
                    </a:ext>
                  </a:extLst>
                </a:gridCol>
                <a:gridCol w="1450986">
                  <a:extLst>
                    <a:ext uri="{9D8B030D-6E8A-4147-A177-3AD203B41FA5}">
                      <a16:colId xmlns:a16="http://schemas.microsoft.com/office/drawing/2014/main" xmlns="" val="3676631122"/>
                    </a:ext>
                  </a:extLst>
                </a:gridCol>
                <a:gridCol w="682816">
                  <a:extLst>
                    <a:ext uri="{9D8B030D-6E8A-4147-A177-3AD203B41FA5}">
                      <a16:colId xmlns:a16="http://schemas.microsoft.com/office/drawing/2014/main" xmlns="" val="2751995018"/>
                    </a:ext>
                  </a:extLst>
                </a:gridCol>
                <a:gridCol w="1010000">
                  <a:extLst>
                    <a:ext uri="{9D8B030D-6E8A-4147-A177-3AD203B41FA5}">
                      <a16:colId xmlns:a16="http://schemas.microsoft.com/office/drawing/2014/main" xmlns="" val="4089805430"/>
                    </a:ext>
                  </a:extLst>
                </a:gridCol>
                <a:gridCol w="2062677">
                  <a:extLst>
                    <a:ext uri="{9D8B030D-6E8A-4147-A177-3AD203B41FA5}">
                      <a16:colId xmlns:a16="http://schemas.microsoft.com/office/drawing/2014/main" xmlns="" val="3683444345"/>
                    </a:ext>
                  </a:extLst>
                </a:gridCol>
                <a:gridCol w="1707043">
                  <a:extLst>
                    <a:ext uri="{9D8B030D-6E8A-4147-A177-3AD203B41FA5}">
                      <a16:colId xmlns:a16="http://schemas.microsoft.com/office/drawing/2014/main" xmlns="" val="2653770960"/>
                    </a:ext>
                  </a:extLst>
                </a:gridCol>
              </a:tblGrid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 dirty="0">
                          <a:effectLst/>
                        </a:rPr>
                        <a:t>PFS Number</a:t>
                      </a:r>
                      <a:endParaRPr lang="en-ZA" sz="900" b="1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>
                          <a:effectLst/>
                        </a:rPr>
                        <a:t>Allegation Type</a:t>
                      </a:r>
                      <a:endParaRPr lang="en-ZA" sz="900" b="1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>
                          <a:effectLst/>
                        </a:rPr>
                        <a:t>Dept</a:t>
                      </a:r>
                      <a:endParaRPr lang="en-ZA" sz="900" b="1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>
                          <a:effectLst/>
                        </a:rPr>
                        <a:t>Date file closed</a:t>
                      </a:r>
                      <a:endParaRPr lang="en-ZA" sz="900" b="1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>
                          <a:effectLst/>
                        </a:rPr>
                        <a:t>Outcome</a:t>
                      </a:r>
                      <a:endParaRPr lang="en-ZA" sz="900" b="1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b="1" u="none" strike="noStrike" dirty="0">
                          <a:effectLst/>
                        </a:rPr>
                        <a:t>Financial Implications - Rand Amount</a:t>
                      </a:r>
                      <a:endParaRPr lang="en-ZA" sz="900" b="1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2182931239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7-18-0-000002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Alleged Fraud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DS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9/2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Only Preliminary Investigation with recommendation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3708951245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6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Financial Irregularitie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WCED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09/29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Only Preliminary Investigation requir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 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654940548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6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DCA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2017/09/29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Irregularity and/or Non-Compliance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R886 236.00 (Irregular expenditure)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73362971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72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Other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LG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2017/10/09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Fraud and/or Corruption, Theft, Irregularity and/or Non Compliance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n/a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444103190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7-18-0-00002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2017/10/30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No Investigation 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n/a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1808576118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7-18-0-000022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Other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10/24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Only Preliminary Investigation required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n/a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2954420461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59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Fraud/and or theft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11/2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Fraud and Irregularity and /or Non Compliance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R12 326.00 (Fraud)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916087123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7-18-0-000005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Frau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11/2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Fraud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R17 450.00 (Fraud)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1127894423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FIU 4-15/1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12/15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Corruption/Irregularity and/or Non Compliance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R458 595 (Irregular expenditure)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787409477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FIU 33-15/16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Nepotism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12/0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Corruption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3447722408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FIU 31-16/1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EALTH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12/07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Fraud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R617 500.08 (Fraud and irregular expenditure)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113664642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6-17-0-000063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WC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12/1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Corruption and Irregularity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3639421807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7-18-0-000001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Frau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DEDAT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12/12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Irregularity and/or Non-Compliance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3307575736"/>
                  </a:ext>
                </a:extLst>
              </a:tr>
              <a:tr h="335591"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PFS17-18-0-000003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Alleged Corruption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HS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2017/12/14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>
                          <a:effectLst/>
                        </a:rPr>
                        <a:t>Only Preliminary Investigation required</a:t>
                      </a:r>
                      <a:endParaRPr lang="en-ZA" sz="900" b="0" i="0" u="none" strike="noStrike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900" u="none" strike="noStrike" dirty="0">
                          <a:effectLst/>
                        </a:rPr>
                        <a:t>n/a</a:t>
                      </a:r>
                      <a:endParaRPr lang="en-ZA" sz="900" b="0" i="0" u="none" strike="noStrike" dirty="0">
                        <a:solidFill>
                          <a:srgbClr val="366092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877" marR="4877" marT="4877" marB="0" anchor="b"/>
                </a:tc>
                <a:extLst>
                  <a:ext uri="{0D108BD9-81ED-4DB2-BD59-A6C34878D82A}">
                    <a16:rowId xmlns:a16="http://schemas.microsoft.com/office/drawing/2014/main" xmlns="" val="27583311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361942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ZA" dirty="0"/>
              <a:t>Outcomes of completed cases – All Departments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378080" y="6468150"/>
            <a:ext cx="514400" cy="230832"/>
          </a:xfrm>
        </p:spPr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7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97501541"/>
              </p:ext>
            </p:extLst>
          </p:nvPr>
        </p:nvGraphicFramePr>
        <p:xfrm>
          <a:off x="1115616" y="1196752"/>
          <a:ext cx="6768752" cy="42484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3154986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180975"/>
            <a:ext cx="8597205" cy="934693"/>
          </a:xfrm>
          <a:noFill/>
        </p:spPr>
        <p:txBody>
          <a:bodyPr/>
          <a:lstStyle/>
          <a:p>
            <a:r>
              <a:rPr lang="en-ZA" dirty="0"/>
              <a:t>Recommendations made for the period – All Departmen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WCG-SCOPA </a:t>
            </a:r>
            <a:r>
              <a:rPr lang="en-ZA" dirty="0"/>
              <a:t>1 Apr 17 – 31 Dec 17 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55576" y="1115669"/>
            <a:ext cx="7704856" cy="4977043"/>
          </a:xfrm>
        </p:spPr>
        <p:txBody>
          <a:bodyPr/>
          <a:lstStyle/>
          <a:p>
            <a:pPr algn="ctr"/>
            <a:r>
              <a:rPr lang="en-ZA" dirty="0"/>
              <a:t>Status of implementation of Disciplinary Action Recommendations as at 30 June 2018</a:t>
            </a: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71311586"/>
              </p:ext>
            </p:extLst>
          </p:nvPr>
        </p:nvGraphicFramePr>
        <p:xfrm>
          <a:off x="2041071" y="1772816"/>
          <a:ext cx="5411249" cy="4319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5826906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Wf9MXAXG6E1/9B/7EXz0FWhUUork4+DhzrR7R5fBYeYQzMpmTDpxLC/MJm00QZg2dvZRXYV31rgpitB72fvkWDsgJK5ohi+54ClNXQLYvoHXD0rCJeVmWnjrA4sDDc4GADc7BPMl6/rBXWk8gTXS7BQ0LHfZFFjWGr5n9ZqzzGo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Template for presentations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Custom 18">
    <a:dk1>
      <a:sysClr val="windowText" lastClr="000000"/>
    </a:dk1>
    <a:lt1>
      <a:sysClr val="window" lastClr="FFFFFF"/>
    </a:lt1>
    <a:dk2>
      <a:srgbClr val="003399"/>
    </a:dk2>
    <a:lt2>
      <a:srgbClr val="3377FF"/>
    </a:lt2>
    <a:accent1>
      <a:srgbClr val="73AFB6"/>
    </a:accent1>
    <a:accent2>
      <a:srgbClr val="956E8E"/>
    </a:accent2>
    <a:accent3>
      <a:srgbClr val="998F86"/>
    </a:accent3>
    <a:accent4>
      <a:srgbClr val="C4BEB8"/>
    </a:accent4>
    <a:accent5>
      <a:srgbClr val="5C8727"/>
    </a:accent5>
    <a:accent6>
      <a:srgbClr val="F89728"/>
    </a:accent6>
    <a:hlink>
      <a:srgbClr val="B5121B"/>
    </a:hlink>
    <a:folHlink>
      <a:srgbClr val="998F86"/>
    </a:folHlink>
  </a:clrScheme>
  <a:fontScheme name="Western Cape Government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emplate for presentations</Template>
  <TotalTime>15124</TotalTime>
  <Words>1518</Words>
  <Application>Microsoft Office PowerPoint</Application>
  <PresentationFormat>On-screen Show (4:3)</PresentationFormat>
  <Paragraphs>494</Paragraphs>
  <Slides>44</Slides>
  <Notes>2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46" baseType="lpstr">
      <vt:lpstr>Template for presentations</vt:lpstr>
      <vt:lpstr>think-cell Slide</vt:lpstr>
      <vt:lpstr>PROVINCIAL FORENSIC SERVICEs</vt:lpstr>
      <vt:lpstr>Slide 2</vt:lpstr>
      <vt:lpstr>Slide 3</vt:lpstr>
      <vt:lpstr>Case Load Reconciliation – All Departments</vt:lpstr>
      <vt:lpstr> Investigations in progress during Q1, Q2 and Q3 2017-18</vt:lpstr>
      <vt:lpstr>Cases closed between 1 April 2017 and 31 December 2017</vt:lpstr>
      <vt:lpstr>Cases closed between 1 April 2017 and 31 December 2017</vt:lpstr>
      <vt:lpstr>Outcomes of completed cases – All Departments</vt:lpstr>
      <vt:lpstr>Recommendations made for the period – All Departments</vt:lpstr>
      <vt:lpstr>Recommendations made for the period – All Departments</vt:lpstr>
      <vt:lpstr>Recommendations made for the period – All Departments</vt:lpstr>
      <vt:lpstr>Criminal cases – All Departments</vt:lpstr>
      <vt:lpstr>Slide 13</vt:lpstr>
      <vt:lpstr>Outcomes of Completed Cases</vt:lpstr>
      <vt:lpstr>Recommendations made for the period</vt:lpstr>
      <vt:lpstr>Recommendations made for the period</vt:lpstr>
      <vt:lpstr>Recommendations made for the period</vt:lpstr>
      <vt:lpstr>Criminal cases</vt:lpstr>
      <vt:lpstr>Slide 19</vt:lpstr>
      <vt:lpstr>Outcomes of Completed Cases</vt:lpstr>
      <vt:lpstr>Recommendations made for the period</vt:lpstr>
      <vt:lpstr>Recommendations made for the period</vt:lpstr>
      <vt:lpstr>Recommendations made for the period</vt:lpstr>
      <vt:lpstr>Criminal cases</vt:lpstr>
      <vt:lpstr>Slide 25</vt:lpstr>
      <vt:lpstr>Outcomes of Completed Cases</vt:lpstr>
      <vt:lpstr>Slide 27</vt:lpstr>
      <vt:lpstr>Outcomes of Completed Case</vt:lpstr>
      <vt:lpstr>Recommendations made for the period</vt:lpstr>
      <vt:lpstr>Recommendations made for the period</vt:lpstr>
      <vt:lpstr>Slide 31</vt:lpstr>
      <vt:lpstr>Outcome of completed case</vt:lpstr>
      <vt:lpstr>Slide 33</vt:lpstr>
      <vt:lpstr>Outcomes of Completed Cases</vt:lpstr>
      <vt:lpstr>Recommendations made for the period</vt:lpstr>
      <vt:lpstr>Slide 36</vt:lpstr>
      <vt:lpstr>Outcomes of Completed Cases </vt:lpstr>
      <vt:lpstr>Recommendations made for the period</vt:lpstr>
      <vt:lpstr>Slide 39</vt:lpstr>
      <vt:lpstr>Outcomes of Completed Cases</vt:lpstr>
      <vt:lpstr>Slide 41</vt:lpstr>
      <vt:lpstr>Outcomes of Completed Cases</vt:lpstr>
      <vt:lpstr>Criminal cases</vt:lpstr>
      <vt:lpstr>Slide 44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ENSIC Statistics</dc:title>
  <dc:creator>Henriette Robson</dc:creator>
  <cp:keywords>POTX</cp:keywords>
  <cp:lastModifiedBy>PUMZA</cp:lastModifiedBy>
  <cp:revision>1692</cp:revision>
  <cp:lastPrinted>2018-09-13T11:52:23Z</cp:lastPrinted>
  <dcterms:created xsi:type="dcterms:W3CDTF">2013-01-11T13:18:26Z</dcterms:created>
  <dcterms:modified xsi:type="dcterms:W3CDTF">2018-09-21T08:47:19Z</dcterms:modified>
  <cp:category>CI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44da156c-9682-46ee-85f0-1e4774893c71</vt:lpwstr>
  </property>
  <property fmtid="{D5CDD505-2E9C-101B-9397-08002B2CF9AE}" pid="3" name="DeloitteMetaDataTag1">
    <vt:lpwstr>DA - HANA</vt:lpwstr>
  </property>
  <property fmtid="{D5CDD505-2E9C-101B-9397-08002B2CF9AE}" pid="4" name="DeloitteMetaDataTag2">
    <vt:lpwstr>Not Applicable</vt:lpwstr>
  </property>
  <property fmtid="{D5CDD505-2E9C-101B-9397-08002B2CF9AE}" pid="5" name="DeloitteMetaDataTag3">
    <vt:lpwstr>Not Applicable</vt:lpwstr>
  </property>
  <property fmtid="{D5CDD505-2E9C-101B-9397-08002B2CF9AE}" pid="6" name="DeloitteDocumentType">
    <vt:lpwstr>General</vt:lpwstr>
  </property>
  <property fmtid="{D5CDD505-2E9C-101B-9397-08002B2CF9AE}" pid="7" name="DeloitteMetaDataTag4">
    <vt:lpwstr>2014</vt:lpwstr>
  </property>
  <property fmtid="{D5CDD505-2E9C-101B-9397-08002B2CF9AE}" pid="8" name="DeloitteDivision">
    <vt:lpwstr>None</vt:lpwstr>
  </property>
  <property fmtid="{D5CDD505-2E9C-101B-9397-08002B2CF9AE}" pid="9" name="DeloitteBusinessUnit">
    <vt:lpwstr>None</vt:lpwstr>
  </property>
  <property fmtid="{D5CDD505-2E9C-101B-9397-08002B2CF9AE}" pid="10" name="DeloitteCompany">
    <vt:lpwstr>DeloitteZA</vt:lpwstr>
  </property>
  <property fmtid="{D5CDD505-2E9C-101B-9397-08002B2CF9AE}" pid="11" name="DeloitteCountry">
    <vt:lpwstr>SouthAfrica</vt:lpwstr>
  </property>
  <property fmtid="{D5CDD505-2E9C-101B-9397-08002B2CF9AE}" pid="12" name="DeloitteServiceLine">
    <vt:lpwstr>None</vt:lpwstr>
  </property>
  <property fmtid="{D5CDD505-2E9C-101B-9397-08002B2CF9AE}" pid="13" name="DeloitteSecurityClassification">
    <vt:lpwstr>Internal</vt:lpwstr>
  </property>
  <property fmtid="{D5CDD505-2E9C-101B-9397-08002B2CF9AE}" pid="14" name="DeloitteSensitivity">
    <vt:lpwstr>FirmPersonalAndConfidential</vt:lpwstr>
  </property>
</Properties>
</file>